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</p:sldMasterIdLst>
  <p:notesMasterIdLst>
    <p:notesMasterId r:id="rId45"/>
  </p:notesMasterIdLst>
  <p:sldIdLst>
    <p:sldId id="256" r:id="rId2"/>
    <p:sldId id="441" r:id="rId3"/>
    <p:sldId id="399" r:id="rId4"/>
    <p:sldId id="412" r:id="rId5"/>
    <p:sldId id="400" r:id="rId6"/>
    <p:sldId id="401" r:id="rId7"/>
    <p:sldId id="406" r:id="rId8"/>
    <p:sldId id="408" r:id="rId9"/>
    <p:sldId id="443" r:id="rId10"/>
    <p:sldId id="417" r:id="rId11"/>
    <p:sldId id="419" r:id="rId12"/>
    <p:sldId id="433" r:id="rId13"/>
    <p:sldId id="481" r:id="rId14"/>
    <p:sldId id="463" r:id="rId15"/>
    <p:sldId id="465" r:id="rId16"/>
    <p:sldId id="464" r:id="rId17"/>
    <p:sldId id="466" r:id="rId18"/>
    <p:sldId id="449" r:id="rId19"/>
    <p:sldId id="420" r:id="rId20"/>
    <p:sldId id="421" r:id="rId21"/>
    <p:sldId id="422" r:id="rId22"/>
    <p:sldId id="423" r:id="rId23"/>
    <p:sldId id="424" r:id="rId24"/>
    <p:sldId id="425" r:id="rId25"/>
    <p:sldId id="467" r:id="rId26"/>
    <p:sldId id="476" r:id="rId27"/>
    <p:sldId id="470" r:id="rId28"/>
    <p:sldId id="473" r:id="rId29"/>
    <p:sldId id="480" r:id="rId30"/>
    <p:sldId id="469" r:id="rId31"/>
    <p:sldId id="474" r:id="rId32"/>
    <p:sldId id="426" r:id="rId33"/>
    <p:sldId id="429" r:id="rId34"/>
    <p:sldId id="434" r:id="rId35"/>
    <p:sldId id="455" r:id="rId36"/>
    <p:sldId id="456" r:id="rId37"/>
    <p:sldId id="446" r:id="rId38"/>
    <p:sldId id="428" r:id="rId39"/>
    <p:sldId id="447" r:id="rId40"/>
    <p:sldId id="450" r:id="rId41"/>
    <p:sldId id="477" r:id="rId42"/>
    <p:sldId id="453" r:id="rId43"/>
    <p:sldId id="454" r:id="rId44"/>
  </p:sldIdLst>
  <p:sldSz cx="9144000" cy="6858000" type="screen4x3"/>
  <p:notesSz cx="6858000" cy="9144000"/>
  <p:defaultTextStyle>
    <a:defPPr>
      <a:defRPr lang="hu-H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9" autoAdjust="0"/>
    <p:restoredTop sz="86380" autoAdjust="0"/>
  </p:normalViewPr>
  <p:slideViewPr>
    <p:cSldViewPr>
      <p:cViewPr>
        <p:scale>
          <a:sx n="50" d="100"/>
          <a:sy n="50" d="100"/>
        </p:scale>
        <p:origin x="-546" y="-3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65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ublications\PUBL-2015\09-25-N&#233;met%20&#225;ram-mix%20+%20term%20&#233;s%20fogy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Publications\PUBL-2015\09-25-N&#233;met%20&#225;ram-mix%20+%20term%20&#233;s%20fogy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plotArea>
      <c:layout/>
      <c:barChart>
        <c:barDir val="col"/>
        <c:grouping val="clustered"/>
        <c:ser>
          <c:idx val="0"/>
          <c:order val="0"/>
          <c:tx>
            <c:strRef>
              <c:f>Munka5!$C$6</c:f>
              <c:strCache>
                <c:ptCount val="1"/>
                <c:pt idx="0">
                  <c:v>1980</c:v>
                </c:pt>
              </c:strCache>
            </c:strRef>
          </c:tx>
          <c:spPr>
            <a:solidFill>
              <a:srgbClr val="C00000"/>
            </a:solidFill>
          </c:spPr>
          <c:dLbls>
            <c:txPr>
              <a:bodyPr/>
              <a:lstStyle/>
              <a:p>
                <a:pPr>
                  <a:defRPr sz="2000" baseline="0"/>
                </a:pPr>
                <a:endParaRPr lang="hu-HU"/>
              </a:p>
            </c:txPr>
            <c:showVal val="1"/>
          </c:dLbls>
          <c:cat>
            <c:strRef>
              <c:f>Munka5!$B$7:$B$9</c:f>
              <c:strCache>
                <c:ptCount val="3"/>
                <c:pt idx="0">
                  <c:v>Észak-Amerika</c:v>
                </c:pt>
                <c:pt idx="1">
                  <c:v>Európa</c:v>
                </c:pt>
                <c:pt idx="2">
                  <c:v>Ázsia</c:v>
                </c:pt>
              </c:strCache>
            </c:strRef>
          </c:cat>
          <c:val>
            <c:numRef>
              <c:f>Munka5!$C$7:$C$9</c:f>
              <c:numCache>
                <c:formatCode>General</c:formatCode>
                <c:ptCount val="3"/>
                <c:pt idx="0">
                  <c:v>30.3</c:v>
                </c:pt>
                <c:pt idx="1">
                  <c:v>32.200000000000003</c:v>
                </c:pt>
                <c:pt idx="2">
                  <c:v>20.2</c:v>
                </c:pt>
              </c:numCache>
            </c:numRef>
          </c:val>
        </c:ser>
        <c:ser>
          <c:idx val="1"/>
          <c:order val="1"/>
          <c:tx>
            <c:strRef>
              <c:f>Munka5!$D$6</c:f>
              <c:strCache>
                <c:ptCount val="1"/>
                <c:pt idx="0">
                  <c:v>2015</c:v>
                </c:pt>
              </c:strCache>
            </c:strRef>
          </c:tx>
          <c:dLbls>
            <c:txPr>
              <a:bodyPr/>
              <a:lstStyle/>
              <a:p>
                <a:pPr>
                  <a:defRPr sz="2000" baseline="0"/>
                </a:pPr>
                <a:endParaRPr lang="hu-HU"/>
              </a:p>
            </c:txPr>
            <c:showVal val="1"/>
          </c:dLbls>
          <c:cat>
            <c:strRef>
              <c:f>Munka5!$B$7:$B$9</c:f>
              <c:strCache>
                <c:ptCount val="3"/>
                <c:pt idx="0">
                  <c:v>Észak-Amerika</c:v>
                </c:pt>
                <c:pt idx="1">
                  <c:v>Európa</c:v>
                </c:pt>
                <c:pt idx="2">
                  <c:v>Ázsia</c:v>
                </c:pt>
              </c:strCache>
            </c:strRef>
          </c:cat>
          <c:val>
            <c:numRef>
              <c:f>Munka5!$D$7:$D$9</c:f>
              <c:numCache>
                <c:formatCode>General</c:formatCode>
                <c:ptCount val="3"/>
                <c:pt idx="0">
                  <c:v>28.1</c:v>
                </c:pt>
                <c:pt idx="1">
                  <c:v>20.8</c:v>
                </c:pt>
                <c:pt idx="2">
                  <c:v>33</c:v>
                </c:pt>
              </c:numCache>
            </c:numRef>
          </c:val>
        </c:ser>
        <c:axId val="68164992"/>
        <c:axId val="68179072"/>
      </c:barChart>
      <c:catAx>
        <c:axId val="68164992"/>
        <c:scaling>
          <c:orientation val="minMax"/>
        </c:scaling>
        <c:axPos val="b"/>
        <c:tickLblPos val="nextTo"/>
        <c:txPr>
          <a:bodyPr/>
          <a:lstStyle/>
          <a:p>
            <a:pPr>
              <a:defRPr sz="2800" baseline="0"/>
            </a:pPr>
            <a:endParaRPr lang="hu-HU"/>
          </a:p>
        </c:txPr>
        <c:crossAx val="68179072"/>
        <c:crosses val="autoZero"/>
        <c:auto val="1"/>
        <c:lblAlgn val="ctr"/>
        <c:lblOffset val="100"/>
      </c:catAx>
      <c:valAx>
        <c:axId val="68179072"/>
        <c:scaling>
          <c:orientation val="minMax"/>
        </c:scaling>
        <c:axPos val="l"/>
        <c:majorGridlines/>
        <c:numFmt formatCode="General" sourceLinked="1"/>
        <c:tickLblPos val="nextTo"/>
        <c:crossAx val="68164992"/>
        <c:crosses val="autoZero"/>
        <c:crossBetween val="between"/>
      </c:valAx>
    </c:plotArea>
    <c:plotVisOnly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plotArea>
      <c:layout/>
      <c:barChart>
        <c:barDir val="col"/>
        <c:grouping val="clustered"/>
        <c:ser>
          <c:idx val="0"/>
          <c:order val="0"/>
          <c:spPr>
            <a:solidFill>
              <a:srgbClr val="002060"/>
            </a:solidFill>
          </c:spPr>
          <c:cat>
            <c:strRef>
              <c:f>Munka4!$B$22:$B$31</c:f>
              <c:strCache>
                <c:ptCount val="10"/>
                <c:pt idx="0">
                  <c:v>Szén</c:v>
                </c:pt>
                <c:pt idx="1">
                  <c:v>Atom</c:v>
                </c:pt>
                <c:pt idx="2">
                  <c:v>Földgáz</c:v>
                </c:pt>
                <c:pt idx="3">
                  <c:v>Szél</c:v>
                </c:pt>
                <c:pt idx="4">
                  <c:v>Biomassza</c:v>
                </c:pt>
                <c:pt idx="5">
                  <c:v>Szolár PV</c:v>
                </c:pt>
                <c:pt idx="6">
                  <c:v>Vízerőmű</c:v>
                </c:pt>
                <c:pt idx="7">
                  <c:v>Szemét</c:v>
                </c:pt>
                <c:pt idx="8">
                  <c:v>Olaj</c:v>
                </c:pt>
                <c:pt idx="9">
                  <c:v>Egyéb</c:v>
                </c:pt>
              </c:strCache>
            </c:strRef>
          </c:cat>
          <c:val>
            <c:numRef>
              <c:f>Munka4!$C$22:$C$31</c:f>
              <c:numCache>
                <c:formatCode>General</c:formatCode>
                <c:ptCount val="10"/>
                <c:pt idx="0">
                  <c:v>44</c:v>
                </c:pt>
                <c:pt idx="1">
                  <c:v>15.5</c:v>
                </c:pt>
                <c:pt idx="2">
                  <c:v>9.6</c:v>
                </c:pt>
                <c:pt idx="3">
                  <c:v>9.1</c:v>
                </c:pt>
                <c:pt idx="4">
                  <c:v>6.8</c:v>
                </c:pt>
                <c:pt idx="5">
                  <c:v>5.6</c:v>
                </c:pt>
                <c:pt idx="6">
                  <c:v>3.1</c:v>
                </c:pt>
                <c:pt idx="7">
                  <c:v>1</c:v>
                </c:pt>
                <c:pt idx="8">
                  <c:v>1</c:v>
                </c:pt>
                <c:pt idx="9">
                  <c:v>4.3</c:v>
                </c:pt>
              </c:numCache>
            </c:numRef>
          </c:val>
        </c:ser>
        <c:axId val="68269184"/>
        <c:axId val="68215552"/>
      </c:barChart>
      <c:catAx>
        <c:axId val="68269184"/>
        <c:scaling>
          <c:orientation val="minMax"/>
        </c:scaling>
        <c:axPos val="b"/>
        <c:tickLblPos val="nextTo"/>
        <c:txPr>
          <a:bodyPr/>
          <a:lstStyle/>
          <a:p>
            <a:pPr>
              <a:defRPr sz="2200" baseline="0"/>
            </a:pPr>
            <a:endParaRPr lang="hu-HU"/>
          </a:p>
        </c:txPr>
        <c:crossAx val="68215552"/>
        <c:crosses val="autoZero"/>
        <c:auto val="1"/>
        <c:lblAlgn val="ctr"/>
        <c:lblOffset val="100"/>
      </c:catAx>
      <c:valAx>
        <c:axId val="68215552"/>
        <c:scaling>
          <c:orientation val="minMax"/>
        </c:scaling>
        <c:axPos val="l"/>
        <c:majorGridlines/>
        <c:numFmt formatCode="General" sourceLinked="1"/>
        <c:tickLblPos val="nextTo"/>
        <c:crossAx val="68269184"/>
        <c:crosses val="autoZero"/>
        <c:crossBetween val="between"/>
      </c:valAx>
    </c:plotArea>
    <c:plotVisOnly val="1"/>
  </c:chart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833</cdr:x>
      <cdr:y>0.04286</cdr:y>
    </cdr:from>
    <cdr:to>
      <cdr:x>0.95</cdr:x>
      <cdr:y>0.5303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2232219" y="216024"/>
          <a:ext cx="5976693" cy="2456984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3"/>
        </a:solidFill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2800" dirty="0" smtClean="0">
              <a:solidFill>
                <a:srgbClr val="FF0000"/>
              </a:solidFill>
            </a:rPr>
            <a:t>Energiahordozók a német áram-mixben:</a:t>
          </a:r>
        </a:p>
        <a:p xmlns:a="http://schemas.openxmlformats.org/drawingml/2006/main">
          <a:r>
            <a:rPr lang="hu-HU" sz="2800" dirty="0" err="1" smtClean="0">
              <a:solidFill>
                <a:srgbClr val="FF0000"/>
              </a:solidFill>
            </a:rPr>
            <a:t>-Fosszilis</a:t>
          </a:r>
          <a:r>
            <a:rPr lang="hu-HU" sz="2800" dirty="0" smtClean="0">
              <a:solidFill>
                <a:srgbClr val="FF0000"/>
              </a:solidFill>
            </a:rPr>
            <a:t>:		63,8%</a:t>
          </a:r>
        </a:p>
        <a:p xmlns:a="http://schemas.openxmlformats.org/drawingml/2006/main">
          <a:r>
            <a:rPr lang="hu-HU" sz="2800" dirty="0" err="1" smtClean="0">
              <a:solidFill>
                <a:srgbClr val="FF0000"/>
              </a:solidFill>
            </a:rPr>
            <a:t>-Atom</a:t>
          </a:r>
          <a:r>
            <a:rPr lang="hu-HU" sz="2800" dirty="0" smtClean="0">
              <a:solidFill>
                <a:srgbClr val="FF0000"/>
              </a:solidFill>
            </a:rPr>
            <a:t>:		15,9%</a:t>
          </a:r>
        </a:p>
        <a:p xmlns:a="http://schemas.openxmlformats.org/drawingml/2006/main">
          <a:r>
            <a:rPr lang="hu-HU" sz="2800" dirty="0" err="1" smtClean="0">
              <a:solidFill>
                <a:srgbClr val="FF0000"/>
              </a:solidFill>
            </a:rPr>
            <a:t>-Vízenergia</a:t>
          </a:r>
          <a:r>
            <a:rPr lang="hu-HU" sz="2800" dirty="0" smtClean="0">
              <a:solidFill>
                <a:srgbClr val="FF0000"/>
              </a:solidFill>
            </a:rPr>
            <a:t>:		4,3%</a:t>
          </a:r>
        </a:p>
        <a:p xmlns:a="http://schemas.openxmlformats.org/drawingml/2006/main">
          <a:r>
            <a:rPr lang="hu-HU" sz="2800" dirty="0" err="1" smtClean="0">
              <a:solidFill>
                <a:srgbClr val="FF0000"/>
              </a:solidFill>
            </a:rPr>
            <a:t>-Szél</a:t>
          </a:r>
          <a:r>
            <a:rPr lang="hu-HU" sz="2800" dirty="0" smtClean="0">
              <a:solidFill>
                <a:srgbClr val="FF0000"/>
              </a:solidFill>
            </a:rPr>
            <a:t>, nap, geo:	16%</a:t>
          </a:r>
        </a:p>
        <a:p xmlns:a="http://schemas.openxmlformats.org/drawingml/2006/main">
          <a:endParaRPr lang="hu-HU" sz="20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smtClean="0"/>
              <a:t>Mintaszöveg szerkesztés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015AF7D5-1C79-4B93-8119-7D2596680052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6B4D15-5ABA-49EF-9F0D-7E7CBEB4DBC0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993883-68CC-48C8-AEB1-4352DA1F7BA9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54C945-03AA-424F-B502-D3EB66368DDD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35C73D-A53E-4597-A98C-B715794DC14D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D62F84-FC0D-4929-A5E1-69FC21DA59C3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1DCC51-97B1-4B07-8D40-BF77F4A9EF7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A9FFDC-EF02-4030-AD2B-1C92608924DD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78B324-9ABF-4075-BA15-DB0FDBDD8749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4D47D8-5B4A-4B6B-8E60-D0414DE79E36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CB9C91-7B88-4303-B042-FA45F9351D1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 smtClean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62B10E-FF95-4429-AFA0-FA9FB4DEE349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cím szerkesztés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F4F5CF4C-65CB-41D2-B8D8-0BCDD2C2C686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304800"/>
            <a:ext cx="9144000" cy="1905000"/>
          </a:xfrm>
        </p:spPr>
        <p:txBody>
          <a:bodyPr/>
          <a:lstStyle/>
          <a:p>
            <a:pPr eaLnBrk="1" hangingPunct="1"/>
            <a:r>
              <a:rPr lang="hu-HU" sz="3200" b="1" dirty="0" smtClean="0">
                <a:solidFill>
                  <a:schemeClr val="accent2"/>
                </a:solidFill>
              </a:rPr>
              <a:t>Debreceni Egyetem</a:t>
            </a:r>
            <a:br>
              <a:rPr lang="hu-HU" sz="3200" b="1" dirty="0" smtClean="0">
                <a:solidFill>
                  <a:schemeClr val="accent2"/>
                </a:solidFill>
              </a:rPr>
            </a:br>
            <a:r>
              <a:rPr lang="hu-HU" sz="3200" b="1" dirty="0" smtClean="0">
                <a:solidFill>
                  <a:schemeClr val="accent2"/>
                </a:solidFill>
              </a:rPr>
              <a:t>XXI. ÉPÜLETGÉPÉSZETI SZAKMAI NAPOK</a:t>
            </a:r>
            <a:r>
              <a:rPr lang="hu-HU" sz="3200" dirty="0" smtClean="0">
                <a:solidFill>
                  <a:schemeClr val="accent2"/>
                </a:solidFill>
              </a:rPr>
              <a:t/>
            </a:r>
            <a:br>
              <a:rPr lang="hu-HU" sz="3200" dirty="0" smtClean="0">
                <a:solidFill>
                  <a:schemeClr val="accent2"/>
                </a:solidFill>
              </a:rPr>
            </a:br>
            <a:r>
              <a:rPr lang="hu-HU" sz="3200" dirty="0" smtClean="0">
                <a:solidFill>
                  <a:schemeClr val="accent2"/>
                </a:solidFill>
              </a:rPr>
              <a:t>Budapest</a:t>
            </a:r>
            <a:r>
              <a:rPr lang="hu-HU" sz="2800" dirty="0" smtClean="0">
                <a:solidFill>
                  <a:schemeClr val="accent2"/>
                </a:solidFill>
              </a:rPr>
              <a:t>, 2015. október 15.</a:t>
            </a:r>
            <a:r>
              <a:rPr lang="hu-HU" dirty="0" smtClean="0"/>
              <a:t> 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0" y="2819400"/>
            <a:ext cx="9144000" cy="2819400"/>
          </a:xfrm>
        </p:spPr>
        <p:txBody>
          <a:bodyPr/>
          <a:lstStyle/>
          <a:p>
            <a:pPr>
              <a:defRPr/>
            </a:pPr>
            <a:r>
              <a:rPr lang="hu-HU" sz="4400" b="1" dirty="0" smtClean="0">
                <a:solidFill>
                  <a:srgbClr val="FF0000"/>
                </a:solidFill>
              </a:rPr>
              <a:t>Az európai és a magyar </a:t>
            </a:r>
          </a:p>
          <a:p>
            <a:pPr>
              <a:defRPr/>
            </a:pPr>
            <a:r>
              <a:rPr lang="hu-HU" sz="4400" b="1" dirty="0" smtClean="0">
                <a:solidFill>
                  <a:srgbClr val="FF0000"/>
                </a:solidFill>
              </a:rPr>
              <a:t>villamosenergia-termelés jövőképe</a:t>
            </a:r>
            <a:endParaRPr lang="hu-HU" sz="4400" dirty="0" smtClean="0">
              <a:solidFill>
                <a:srgbClr val="FF0000"/>
              </a:solidFill>
            </a:endParaRPr>
          </a:p>
          <a:p>
            <a:pPr>
              <a:defRPr/>
            </a:pPr>
            <a:endParaRPr lang="hu-HU" dirty="0" smtClean="0">
              <a:solidFill>
                <a:srgbClr val="FF0000"/>
              </a:solidFill>
              <a:latin typeface="+mj-lt"/>
              <a:cs typeface="Times New Roman" pitchFamily="18" charset="0"/>
            </a:endParaRPr>
          </a:p>
          <a:p>
            <a:pPr eaLnBrk="1" hangingPunct="1">
              <a:defRPr/>
            </a:pPr>
            <a:r>
              <a:rPr lang="hu-HU" dirty="0" smtClean="0">
                <a:solidFill>
                  <a:srgbClr val="FF0000"/>
                </a:solidFill>
                <a:latin typeface="+mj-lt"/>
                <a:cs typeface="Times New Roman" pitchFamily="18" charset="0"/>
              </a:rPr>
              <a:t>dr. Molnár László, ETE főtitká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55576" y="1484784"/>
            <a:ext cx="7772400" cy="2088232"/>
          </a:xfrm>
        </p:spPr>
        <p:txBody>
          <a:bodyPr/>
          <a:lstStyle/>
          <a:p>
            <a:r>
              <a:rPr lang="hu-HU" dirty="0" smtClean="0"/>
              <a:t>A hazai </a:t>
            </a:r>
            <a:r>
              <a:rPr lang="hu-HU" dirty="0" err="1" smtClean="0"/>
              <a:t>villamosenergia</a:t>
            </a:r>
            <a:r>
              <a:rPr lang="hu-HU" dirty="0" smtClean="0"/>
              <a:t> </a:t>
            </a:r>
            <a:br>
              <a:rPr lang="hu-HU" dirty="0" smtClean="0"/>
            </a:br>
            <a:r>
              <a:rPr lang="hu-HU" dirty="0" smtClean="0"/>
              <a:t>rendszer jövője</a:t>
            </a: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10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556792"/>
          </a:xfrm>
        </p:spPr>
        <p:txBody>
          <a:bodyPr/>
          <a:lstStyle/>
          <a:p>
            <a:r>
              <a:rPr lang="hu-HU" dirty="0" smtClean="0"/>
              <a:t>Három fontos döntés,</a:t>
            </a:r>
            <a:r>
              <a:rPr lang="hu-HU" sz="3200" dirty="0" smtClean="0"/>
              <a:t/>
            </a:r>
            <a:br>
              <a:rPr lang="hu-HU" sz="3200" dirty="0" smtClean="0"/>
            </a:br>
            <a:r>
              <a:rPr lang="hu-HU" sz="3200" dirty="0" smtClean="0"/>
              <a:t>melyek a magyar energetikai jövőt meghatározzák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628800"/>
            <a:ext cx="9144000" cy="52292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hu-HU" sz="2800" b="1" dirty="0" smtClean="0">
                <a:solidFill>
                  <a:srgbClr val="FF0000"/>
                </a:solidFill>
              </a:rPr>
              <a:t>EU</a:t>
            </a:r>
            <a:r>
              <a:rPr lang="hu-HU" sz="2800" dirty="0" smtClean="0"/>
              <a:t>: 2030-ig a </a:t>
            </a:r>
            <a:r>
              <a:rPr lang="hu-HU" sz="2800" u="sng" dirty="0" smtClean="0">
                <a:solidFill>
                  <a:srgbClr val="FF0000"/>
                </a:solidFill>
              </a:rPr>
              <a:t>GHG emissziókat </a:t>
            </a:r>
            <a:r>
              <a:rPr lang="hu-HU" sz="2800" dirty="0" smtClean="0">
                <a:solidFill>
                  <a:srgbClr val="FF0000"/>
                </a:solidFill>
              </a:rPr>
              <a:t>40%-kal kell csökkenteni</a:t>
            </a:r>
            <a:r>
              <a:rPr lang="hu-HU" sz="2800" dirty="0" smtClean="0"/>
              <a:t>, a </a:t>
            </a:r>
            <a:r>
              <a:rPr lang="hu-HU" sz="2800" u="sng" dirty="0" smtClean="0">
                <a:solidFill>
                  <a:srgbClr val="FF0000"/>
                </a:solidFill>
              </a:rPr>
              <a:t>megújuló energiák </a:t>
            </a:r>
            <a:r>
              <a:rPr lang="hu-HU" sz="2800" dirty="0" smtClean="0">
                <a:solidFill>
                  <a:srgbClr val="FF0000"/>
                </a:solidFill>
              </a:rPr>
              <a:t>részarányát és az </a:t>
            </a:r>
            <a:r>
              <a:rPr lang="hu-HU" sz="2800" u="sng" dirty="0" smtClean="0">
                <a:solidFill>
                  <a:srgbClr val="FF0000"/>
                </a:solidFill>
              </a:rPr>
              <a:t>energiahatékonyságot</a:t>
            </a:r>
            <a:r>
              <a:rPr lang="hu-HU" sz="2800" dirty="0" smtClean="0">
                <a:solidFill>
                  <a:srgbClr val="FF0000"/>
                </a:solidFill>
              </a:rPr>
              <a:t> 27%-kal kell </a:t>
            </a:r>
            <a:r>
              <a:rPr lang="hu-HU" sz="2800" dirty="0" smtClean="0"/>
              <a:t>növelni </a:t>
            </a:r>
          </a:p>
          <a:p>
            <a:pPr marL="514350" lvl="0" indent="-514350">
              <a:buFont typeface="+mj-lt"/>
              <a:buAutoNum type="arabicPeriod"/>
            </a:pPr>
            <a:r>
              <a:rPr lang="hu-HU" sz="2800" b="1" dirty="0" smtClean="0">
                <a:solidFill>
                  <a:srgbClr val="FF0000"/>
                </a:solidFill>
              </a:rPr>
              <a:t>EU</a:t>
            </a:r>
            <a:r>
              <a:rPr lang="hu-HU" sz="2800" dirty="0" smtClean="0"/>
              <a:t>: létre kell hozni </a:t>
            </a:r>
            <a:r>
              <a:rPr lang="hu-HU" sz="2800" dirty="0" smtClean="0">
                <a:solidFill>
                  <a:srgbClr val="FF0000"/>
                </a:solidFill>
              </a:rPr>
              <a:t>a</a:t>
            </a:r>
            <a:r>
              <a:rPr lang="hu-HU" sz="2800" dirty="0" smtClean="0">
                <a:solidFill>
                  <a:srgbClr val="FF0000"/>
                </a:solidFill>
                <a:cs typeface="Times New Roman" pitchFamily="18" charset="0"/>
              </a:rPr>
              <a:t> teljes mértékben integrált energiapiacot</a:t>
            </a:r>
          </a:p>
          <a:p>
            <a:pPr marL="514350" lvl="0" indent="-514350">
              <a:buFont typeface="+mj-lt"/>
              <a:buAutoNum type="arabicPeriod"/>
            </a:pPr>
            <a:r>
              <a:rPr lang="hu-HU" sz="2800" b="1" dirty="0" smtClean="0">
                <a:solidFill>
                  <a:srgbClr val="FF0000"/>
                </a:solidFill>
                <a:cs typeface="Times New Roman" pitchFamily="18" charset="0"/>
              </a:rPr>
              <a:t>Magyar parlament</a:t>
            </a:r>
            <a:r>
              <a:rPr lang="hu-HU" sz="2800" dirty="0" smtClean="0">
                <a:cs typeface="Times New Roman" pitchFamily="18" charset="0"/>
              </a:rPr>
              <a:t>: A Paksi Atomerőmű kapacitás-megőrzése </a:t>
            </a:r>
            <a:r>
              <a:rPr lang="hu-HU" sz="2800" dirty="0" smtClean="0">
                <a:solidFill>
                  <a:srgbClr val="FF0000"/>
                </a:solidFill>
                <a:cs typeface="Times New Roman" pitchFamily="18" charset="0"/>
              </a:rPr>
              <a:t>érdekében </a:t>
            </a:r>
            <a:r>
              <a:rPr lang="hu-HU" sz="2800" u="sng" dirty="0" smtClean="0">
                <a:solidFill>
                  <a:srgbClr val="FF0000"/>
                </a:solidFill>
                <a:cs typeface="Times New Roman" pitchFamily="18" charset="0"/>
              </a:rPr>
              <a:t>két új, egyenként 1200 MW-os </a:t>
            </a:r>
            <a:r>
              <a:rPr lang="hu-HU" sz="2800" u="sng" dirty="0" err="1" smtClean="0">
                <a:solidFill>
                  <a:srgbClr val="FF0000"/>
                </a:solidFill>
                <a:cs typeface="Times New Roman" pitchFamily="18" charset="0"/>
              </a:rPr>
              <a:t>atomerőművi</a:t>
            </a:r>
            <a:r>
              <a:rPr lang="hu-HU" sz="2800" u="sng" dirty="0" smtClean="0">
                <a:solidFill>
                  <a:srgbClr val="FF0000"/>
                </a:solidFill>
                <a:cs typeface="Times New Roman" pitchFamily="18" charset="0"/>
              </a:rPr>
              <a:t> blokkot kell építeni</a:t>
            </a:r>
            <a:r>
              <a:rPr lang="hu-HU" sz="2800" dirty="0" smtClean="0">
                <a:cs typeface="Times New Roman" pitchFamily="18" charset="0"/>
              </a:rPr>
              <a:t>. Ez </a:t>
            </a:r>
            <a:r>
              <a:rPr lang="hu-HU" sz="2800" dirty="0" smtClean="0">
                <a:solidFill>
                  <a:srgbClr val="FF0000"/>
                </a:solidFill>
                <a:cs typeface="Times New Roman" pitchFamily="18" charset="0"/>
              </a:rPr>
              <a:t>összhangban áll az EU véleményével</a:t>
            </a:r>
            <a:r>
              <a:rPr lang="hu-HU" sz="2800" dirty="0" smtClean="0">
                <a:cs typeface="Times New Roman" pitchFamily="18" charset="0"/>
              </a:rPr>
              <a:t>: Figyelembe kell venni, hogy</a:t>
            </a:r>
            <a:r>
              <a:rPr lang="hu-HU" sz="2800" dirty="0" smtClean="0">
                <a:solidFill>
                  <a:srgbClr val="FF0000"/>
                </a:solidFill>
                <a:cs typeface="Times New Roman" pitchFamily="18" charset="0"/>
              </a:rPr>
              <a:t> </a:t>
            </a:r>
            <a:r>
              <a:rPr lang="hu-HU" sz="2800" u="sng" dirty="0" smtClean="0">
                <a:solidFill>
                  <a:srgbClr val="FF0000"/>
                </a:solidFill>
                <a:cs typeface="Times New Roman" pitchFamily="18" charset="0"/>
              </a:rPr>
              <a:t>a karbon</a:t>
            </a:r>
            <a:r>
              <a:rPr lang="hu-HU" sz="2800" u="sng" dirty="0" smtClean="0">
                <a:solidFill>
                  <a:srgbClr val="FF0000"/>
                </a:solidFill>
              </a:rPr>
              <a:t>-</a:t>
            </a:r>
            <a:r>
              <a:rPr lang="hu-HU" sz="2800" u="sng" dirty="0" smtClean="0">
                <a:solidFill>
                  <a:srgbClr val="FF0000"/>
                </a:solidFill>
                <a:cs typeface="Times New Roman" pitchFamily="18" charset="0"/>
              </a:rPr>
              <a:t>semleges atomenergia továbbra is jelentős alternatív energiatermelési megoldás</a:t>
            </a:r>
            <a:endParaRPr lang="hu-HU" sz="2800" u="sng" dirty="0" smtClean="0">
              <a:solidFill>
                <a:srgbClr val="FF0000"/>
              </a:solidFill>
            </a:endParaRPr>
          </a:p>
          <a:p>
            <a:pPr marL="514350" indent="-514350">
              <a:buFont typeface="+mj-lt"/>
              <a:buAutoNum type="arabicPeriod"/>
            </a:pPr>
            <a:endParaRPr lang="hu-HU" sz="28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35C73D-A53E-4597-A98C-B715794DC14D}" type="slidenum">
              <a:rPr lang="hu-HU" smtClean="0"/>
              <a:pPr>
                <a:defRPr/>
              </a:pPr>
              <a:t>11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14</a:t>
            </a:r>
            <a:endParaRPr lang="hu-HU" dirty="0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152400" y="1340768"/>
            <a:ext cx="8740080" cy="2808312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ágabb környezetünk,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sz="400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</a:t>
            </a:r>
            <a:r>
              <a:rPr kumimoji="0" lang="hu-HU" sz="4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z EU </a:t>
            </a:r>
            <a:r>
              <a:rPr kumimoji="0" lang="hu-HU" sz="4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villamosenergia</a:t>
            </a:r>
            <a:r>
              <a:rPr kumimoji="0" lang="hu-HU" sz="4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rendszer helyzete, jellemzői, különös tekintettel </a:t>
            </a:r>
            <a:br>
              <a:rPr kumimoji="0" lang="hu-HU" sz="4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4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 közép- európai régióra</a:t>
            </a:r>
            <a:endParaRPr kumimoji="0" lang="hu-HU" sz="4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13</a:t>
            </a:fld>
            <a:endParaRPr lang="hu-HU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0" y="0"/>
            <a:ext cx="9144000" cy="177281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gsúly eltolódás a globális GDP-ben </a:t>
            </a:r>
            <a:r>
              <a:rPr kumimoji="0" lang="hu-HU" sz="4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hu-HU" sz="4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4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lobális GDP, </a:t>
            </a:r>
            <a:r>
              <a:rPr kumimoji="0" lang="hu-HU" sz="4400" b="0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1980 és 2015, %</a:t>
            </a: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urópa: erős visszaesés, Ázsia: gyors fejlődés</a:t>
            </a:r>
            <a:endParaRPr kumimoji="0" lang="hu-HU" sz="4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aphicFrame>
        <p:nvGraphicFramePr>
          <p:cNvPr id="5" name="Diagram 4"/>
          <p:cNvGraphicFramePr/>
          <p:nvPr/>
        </p:nvGraphicFramePr>
        <p:xfrm>
          <a:off x="251520" y="2057400"/>
          <a:ext cx="8640960" cy="4539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zövegdoboz 5"/>
          <p:cNvSpPr txBox="1"/>
          <p:nvPr/>
        </p:nvSpPr>
        <p:spPr>
          <a:xfrm rot="16200000">
            <a:off x="1111067" y="4071556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800" dirty="0" smtClean="0">
                <a:solidFill>
                  <a:srgbClr val="FFFFFF"/>
                </a:solidFill>
              </a:rPr>
              <a:t>1980</a:t>
            </a:r>
            <a:endParaRPr lang="hu-HU" sz="2800" dirty="0">
              <a:solidFill>
                <a:srgbClr val="FFFFFF"/>
              </a:solidFill>
            </a:endParaRPr>
          </a:p>
        </p:txBody>
      </p:sp>
      <p:sp>
        <p:nvSpPr>
          <p:cNvPr id="7" name="Szövegdoboz 6"/>
          <p:cNvSpPr txBox="1"/>
          <p:nvPr/>
        </p:nvSpPr>
        <p:spPr>
          <a:xfrm rot="16200000">
            <a:off x="1903155" y="4143564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800" dirty="0" smtClean="0">
                <a:solidFill>
                  <a:srgbClr val="FFFFFF"/>
                </a:solidFill>
              </a:rPr>
              <a:t>2015</a:t>
            </a:r>
            <a:endParaRPr lang="hu-HU" sz="28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14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4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5" name="Rectangle 1026"/>
          <p:cNvSpPr txBox="1">
            <a:spLocks noChangeArrowheads="1"/>
          </p:cNvSpPr>
          <p:nvPr/>
        </p:nvSpPr>
        <p:spPr>
          <a:xfrm>
            <a:off x="0" y="476672"/>
            <a:ext cx="9144000" cy="936104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z EU energia helyzete és politikája</a:t>
            </a:r>
          </a:p>
        </p:txBody>
      </p:sp>
      <p:sp>
        <p:nvSpPr>
          <p:cNvPr id="6" name="Rectangle 1027"/>
          <p:cNvSpPr txBox="1">
            <a:spLocks noChangeArrowheads="1"/>
          </p:cNvSpPr>
          <p:nvPr/>
        </p:nvSpPr>
        <p:spPr>
          <a:xfrm>
            <a:off x="0" y="1412776"/>
            <a:ext cx="9144000" cy="5445224"/>
          </a:xfrm>
          <a:prstGeom prst="rect">
            <a:avLst/>
          </a:prstGeom>
        </p:spPr>
        <p:txBody>
          <a:bodyPr/>
          <a:lstStyle/>
          <a:p>
            <a:pPr marL="609600" lvl="0" indent="-609600" algn="just">
              <a:spcBef>
                <a:spcPct val="10000"/>
              </a:spcBef>
              <a:buFont typeface="Arial" pitchFamily="34" charset="0"/>
              <a:buChar char="•"/>
              <a:defRPr/>
            </a:pPr>
            <a:r>
              <a:rPr lang="hu-HU" sz="3600" u="sng" dirty="0" smtClean="0">
                <a:solidFill>
                  <a:srgbClr val="FF0000"/>
                </a:solidFill>
              </a:rPr>
              <a:t>Energiafogyasztás növekedés </a:t>
            </a:r>
            <a:r>
              <a:rPr lang="hu-HU" sz="3600" dirty="0" smtClean="0">
                <a:solidFill>
                  <a:srgbClr val="FF0000"/>
                </a:solidFill>
              </a:rPr>
              <a:t>2011-től </a:t>
            </a:r>
          </a:p>
          <a:p>
            <a:pPr marL="609600" lvl="0" indent="-609600" algn="just">
              <a:spcBef>
                <a:spcPct val="10000"/>
              </a:spcBef>
              <a:defRPr/>
            </a:pPr>
            <a:r>
              <a:rPr lang="hu-HU" sz="3600" dirty="0" smtClean="0">
                <a:solidFill>
                  <a:srgbClr val="FF0000"/>
                </a:solidFill>
              </a:rPr>
              <a:t>	2035-ig: </a:t>
            </a:r>
            <a:r>
              <a:rPr lang="hu-HU" sz="3600" dirty="0" smtClean="0"/>
              <a:t>	</a:t>
            </a:r>
            <a:r>
              <a:rPr lang="hu-HU" sz="3600" dirty="0" smtClean="0">
                <a:solidFill>
                  <a:srgbClr val="FF0000"/>
                </a:solidFill>
              </a:rPr>
              <a:t>EU 0%, </a:t>
            </a:r>
            <a:r>
              <a:rPr lang="hu-HU" sz="3600" dirty="0" smtClean="0"/>
              <a:t>US 1%, Közép-Kelet 10%, </a:t>
            </a:r>
            <a:r>
              <a:rPr lang="hu-HU" sz="3600" dirty="0" err="1" smtClean="0"/>
              <a:t>Dél-Kelet</a:t>
            </a:r>
            <a:r>
              <a:rPr lang="hu-HU" sz="3600" dirty="0" smtClean="0"/>
              <a:t> Ázsia 11%, India 18%, </a:t>
            </a:r>
          </a:p>
          <a:p>
            <a:pPr marL="609600" lvl="0" indent="-609600" algn="just">
              <a:spcBef>
                <a:spcPct val="10000"/>
              </a:spcBef>
              <a:defRPr/>
            </a:pPr>
            <a:r>
              <a:rPr lang="hu-HU" sz="3600" dirty="0" smtClean="0">
                <a:solidFill>
                  <a:srgbClr val="FF0000"/>
                </a:solidFill>
              </a:rPr>
              <a:t>	Kína 31%</a:t>
            </a:r>
          </a:p>
          <a:p>
            <a:pPr marL="609600" lvl="0" indent="-609600" algn="just">
              <a:spcBef>
                <a:spcPct val="10000"/>
              </a:spcBef>
              <a:buFont typeface="Arial" pitchFamily="34" charset="0"/>
              <a:buChar char="•"/>
              <a:defRPr/>
            </a:pPr>
            <a:r>
              <a:rPr lang="hu-HU" sz="3600" dirty="0" smtClean="0">
                <a:solidFill>
                  <a:srgbClr val="FF0000"/>
                </a:solidFill>
              </a:rPr>
              <a:t>Legfőbb energetikai EU célok:</a:t>
            </a:r>
          </a:p>
          <a:p>
            <a:pPr marL="514350" indent="-514350"/>
            <a:r>
              <a:rPr lang="hu-HU" sz="3600" b="1" dirty="0" smtClean="0">
                <a:solidFill>
                  <a:srgbClr val="FF0000"/>
                </a:solidFill>
              </a:rPr>
              <a:t>	- EU</a:t>
            </a:r>
            <a:r>
              <a:rPr lang="hu-HU" sz="3600" dirty="0" smtClean="0"/>
              <a:t>: 2030-ig a </a:t>
            </a:r>
            <a:r>
              <a:rPr lang="hu-HU" sz="3600" u="sng" dirty="0" smtClean="0">
                <a:solidFill>
                  <a:srgbClr val="FF0000"/>
                </a:solidFill>
              </a:rPr>
              <a:t>GHG emissziókat </a:t>
            </a:r>
            <a:r>
              <a:rPr lang="hu-HU" sz="3600" dirty="0" smtClean="0">
                <a:solidFill>
                  <a:srgbClr val="FF0000"/>
                </a:solidFill>
              </a:rPr>
              <a:t>40%-kal kell csökkenteni</a:t>
            </a:r>
            <a:r>
              <a:rPr lang="hu-HU" sz="3600" dirty="0" smtClean="0"/>
              <a:t>, a </a:t>
            </a:r>
            <a:r>
              <a:rPr lang="hu-HU" sz="3600" u="sng" dirty="0" smtClean="0">
                <a:solidFill>
                  <a:srgbClr val="FF0000"/>
                </a:solidFill>
              </a:rPr>
              <a:t>megújuló energiák </a:t>
            </a:r>
            <a:r>
              <a:rPr lang="hu-HU" sz="3600" dirty="0" smtClean="0">
                <a:solidFill>
                  <a:srgbClr val="FF0000"/>
                </a:solidFill>
              </a:rPr>
              <a:t>részarányát és az </a:t>
            </a:r>
            <a:r>
              <a:rPr lang="hu-HU" sz="3600" u="sng" dirty="0" smtClean="0">
                <a:solidFill>
                  <a:srgbClr val="FF0000"/>
                </a:solidFill>
              </a:rPr>
              <a:t>energiahatékonyságot</a:t>
            </a:r>
            <a:r>
              <a:rPr lang="hu-HU" sz="3600" dirty="0" smtClean="0">
                <a:solidFill>
                  <a:srgbClr val="FF0000"/>
                </a:solidFill>
              </a:rPr>
              <a:t> 27%-kal kell </a:t>
            </a:r>
            <a:r>
              <a:rPr lang="hu-HU" sz="3600" dirty="0" smtClean="0"/>
              <a:t>növelni </a:t>
            </a:r>
          </a:p>
          <a:p>
            <a:pPr marL="514350" lvl="0" indent="-514350"/>
            <a:r>
              <a:rPr lang="hu-HU" sz="2800" b="1" dirty="0" smtClean="0">
                <a:solidFill>
                  <a:srgbClr val="FF0000"/>
                </a:solidFill>
              </a:rPr>
              <a:t>	</a:t>
            </a:r>
            <a:endParaRPr lang="hu-HU" sz="2800" dirty="0" smtClean="0">
              <a:solidFill>
                <a:srgbClr val="FF0000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760"/>
          </a:xfrm>
        </p:spPr>
        <p:txBody>
          <a:bodyPr/>
          <a:lstStyle/>
          <a:p>
            <a:r>
              <a:rPr lang="hu-HU" sz="3200" dirty="0" smtClean="0">
                <a:solidFill>
                  <a:srgbClr val="FF0000"/>
                </a:solidFill>
              </a:rPr>
              <a:t>Globális CO</a:t>
            </a:r>
            <a:r>
              <a:rPr lang="hu-HU" sz="3200" baseline="-25000" dirty="0" smtClean="0">
                <a:solidFill>
                  <a:srgbClr val="FF0000"/>
                </a:solidFill>
              </a:rPr>
              <a:t>2</a:t>
            </a:r>
            <a:r>
              <a:rPr lang="hu-HU" sz="3200" dirty="0" smtClean="0">
                <a:solidFill>
                  <a:srgbClr val="FF0000"/>
                </a:solidFill>
              </a:rPr>
              <a:t> emissziók %-ban </a:t>
            </a:r>
            <a:r>
              <a:rPr lang="hu-HU" sz="3200" dirty="0" smtClean="0"/>
              <a:t/>
            </a:r>
            <a:br>
              <a:rPr lang="hu-HU" sz="3200" dirty="0" smtClean="0"/>
            </a:br>
            <a:r>
              <a:rPr lang="hu-HU" sz="3200" dirty="0" smtClean="0"/>
              <a:t>A legnagyobb kibocsátók</a:t>
            </a:r>
            <a:endParaRPr lang="hu-HU" sz="32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15</a:t>
            </a:fld>
            <a:endParaRPr lang="hu-HU"/>
          </a:p>
        </p:txBody>
      </p:sp>
      <p:graphicFrame>
        <p:nvGraphicFramePr>
          <p:cNvPr id="4" name="Táblázat 3"/>
          <p:cNvGraphicFramePr>
            <a:graphicFrameLocks noGrp="1"/>
          </p:cNvGraphicFramePr>
          <p:nvPr/>
        </p:nvGraphicFramePr>
        <p:xfrm>
          <a:off x="899592" y="1556792"/>
          <a:ext cx="7488832" cy="2944368"/>
        </p:xfrm>
        <a:graphic>
          <a:graphicData uri="http://schemas.openxmlformats.org/drawingml/2006/table">
            <a:tbl>
              <a:tblPr/>
              <a:tblGrid>
                <a:gridCol w="5167855"/>
                <a:gridCol w="2320977"/>
              </a:tblGrid>
              <a:tr h="408045">
                <a:tc>
                  <a:txBody>
                    <a:bodyPr/>
                    <a:lstStyle/>
                    <a:p>
                      <a:pPr indent="-146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Kín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29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US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15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EU	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1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Indi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7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Oroszorsz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5,3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Japán	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</a:rPr>
                        <a:t>3,7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Szövegdoboz 4"/>
          <p:cNvSpPr txBox="1"/>
          <p:nvPr/>
        </p:nvSpPr>
        <p:spPr>
          <a:xfrm>
            <a:off x="0" y="4509120"/>
            <a:ext cx="9113114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>
                <a:solidFill>
                  <a:schemeClr val="tx2"/>
                </a:solidFill>
              </a:rPr>
              <a:t>Kína, az USA és az EU együtt a kibocsátások 54%-át</a:t>
            </a:r>
            <a:r>
              <a:rPr lang="hu-HU" dirty="0" smtClean="0"/>
              <a:t>, a felsorolt </a:t>
            </a:r>
          </a:p>
          <a:p>
            <a:pPr algn="ctr"/>
            <a:r>
              <a:rPr lang="hu-HU" dirty="0" smtClean="0">
                <a:solidFill>
                  <a:schemeClr val="tx2"/>
                </a:solidFill>
              </a:rPr>
              <a:t>hat legnagyobb kibocsátó együtt 70%-ot </a:t>
            </a:r>
            <a:r>
              <a:rPr lang="hu-HU" dirty="0" smtClean="0"/>
              <a:t>képviselnek. </a:t>
            </a:r>
          </a:p>
          <a:p>
            <a:pPr algn="ctr"/>
            <a:r>
              <a:rPr lang="hu-HU" dirty="0" smtClean="0">
                <a:solidFill>
                  <a:schemeClr val="tx2"/>
                </a:solidFill>
              </a:rPr>
              <a:t>Az EU</a:t>
            </a:r>
            <a:r>
              <a:rPr lang="hu-HU" dirty="0" smtClean="0"/>
              <a:t>, a maga 40%-os kibocsátás csökkentő célkitűzésével </a:t>
            </a:r>
          </a:p>
          <a:p>
            <a:pPr algn="ctr"/>
            <a:r>
              <a:rPr lang="hu-HU" dirty="0" smtClean="0"/>
              <a:t>(az 1990-es bázisévhez képest</a:t>
            </a:r>
            <a:r>
              <a:rPr lang="hu-HU" dirty="0" smtClean="0">
                <a:solidFill>
                  <a:schemeClr val="tx2"/>
                </a:solidFill>
              </a:rPr>
              <a:t>) jelentős erőfeszítést tesz, de az </a:t>
            </a:r>
            <a:r>
              <a:rPr lang="hu-HU" b="1" dirty="0" smtClean="0">
                <a:solidFill>
                  <a:schemeClr val="tx2"/>
                </a:solidFill>
              </a:rPr>
              <a:t>EU mai </a:t>
            </a:r>
          </a:p>
          <a:p>
            <a:pPr algn="ctr"/>
            <a:r>
              <a:rPr lang="hu-HU" b="1" dirty="0" smtClean="0">
                <a:solidFill>
                  <a:schemeClr val="tx2"/>
                </a:solidFill>
              </a:rPr>
              <a:t>kibocsátási szintjéhez viszonyítva a csökkentés 2%</a:t>
            </a:r>
            <a:r>
              <a:rPr lang="hu-HU" dirty="0" smtClean="0">
                <a:solidFill>
                  <a:schemeClr val="tx2"/>
                </a:solidFill>
              </a:rPr>
              <a:t> körül van</a:t>
            </a:r>
            <a:r>
              <a:rPr lang="hu-HU" dirty="0" smtClean="0"/>
              <a:t>. </a:t>
            </a:r>
          </a:p>
          <a:p>
            <a:pPr algn="ctr"/>
            <a:r>
              <a:rPr lang="hu-HU" sz="2600" b="1" dirty="0" smtClean="0">
                <a:solidFill>
                  <a:srgbClr val="FF0000"/>
                </a:solidFill>
              </a:rPr>
              <a:t>Az EU nem befolyásolja érdemben a globális emissziókat.</a:t>
            </a:r>
            <a:endParaRPr lang="hu-HU" sz="26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16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4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6C57EF-BCF0-4031-92A8-21D169A9578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5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6" name="Cím 1"/>
          <p:cNvSpPr txBox="1">
            <a:spLocks/>
          </p:cNvSpPr>
          <p:nvPr/>
        </p:nvSpPr>
        <p:spPr>
          <a:xfrm>
            <a:off x="0" y="152400"/>
            <a:ext cx="9144000" cy="1332384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z EU stagnál, de vannak nagy változások i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 nemzetközi gázpiac helyzete, 2014</a:t>
            </a:r>
            <a:endParaRPr kumimoji="0" lang="hu-HU" sz="4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Tartalom helye 2"/>
          <p:cNvSpPr txBox="1">
            <a:spLocks/>
          </p:cNvSpPr>
          <p:nvPr/>
        </p:nvSpPr>
        <p:spPr>
          <a:xfrm>
            <a:off x="0" y="1493168"/>
            <a:ext cx="9144000" cy="5517232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gyasztás és termelés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globális gázfogyasztás 0,4%-kal nőtt</a:t>
            </a: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míg az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1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U gázfogyasztása 11,6%-kal csökkent</a:t>
            </a:r>
            <a:r>
              <a:rPr kumimoji="0" lang="hu-HU" sz="2800" b="0" i="0" u="sng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globális gáztermelés 1,6%-kal nőtt, míg az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sz="2800" kern="0" dirty="0" smtClean="0">
                <a:latin typeface="+mn-lt"/>
              </a:rPr>
              <a:t>	</a:t>
            </a:r>
            <a:r>
              <a:rPr kumimoji="0" lang="hu-HU" sz="2800" b="0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U gáztermelése 9,8%-kal csökkent</a:t>
            </a: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ereskedelem</a:t>
            </a:r>
            <a:endParaRPr kumimoji="0" lang="en-US" sz="2800" b="1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</a:t>
            </a:r>
            <a:r>
              <a:rPr kumimoji="0" lang="hu-H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lobális földgáz-kereskedelem 3,4%-kal</a:t>
            </a: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a vezetékes gázszállítás 6,2%-kal, az orosz export 11,8%-kal, a holland 30%-kal </a:t>
            </a:r>
            <a:r>
              <a:rPr kumimoji="0" lang="hu-H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sökkent</a:t>
            </a: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A </a:t>
            </a: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K 28%-kal, Németország 10%-kal, Ukrajna +30%-kal csökkentette </a:t>
            </a: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zetékes importját.</a:t>
            </a:r>
          </a:p>
        </p:txBody>
      </p:sp>
      <p:sp>
        <p:nvSpPr>
          <p:cNvPr id="8" name="Dia számának helye 3"/>
          <p:cNvSpPr txBox="1">
            <a:spLocks/>
          </p:cNvSpPr>
          <p:nvPr/>
        </p:nvSpPr>
        <p:spPr bwMode="auto">
          <a:xfrm>
            <a:off x="6705600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17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4" name="Dia számának helye 1"/>
          <p:cNvSpPr txBox="1">
            <a:spLocks/>
          </p:cNvSpPr>
          <p:nvPr/>
        </p:nvSpPr>
        <p:spPr bwMode="auto">
          <a:xfrm>
            <a:off x="6705600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5" name="Cím 1"/>
          <p:cNvSpPr txBox="1">
            <a:spLocks/>
          </p:cNvSpPr>
          <p:nvPr/>
        </p:nvSpPr>
        <p:spPr>
          <a:xfrm>
            <a:off x="152400" y="152400"/>
            <a:ext cx="9144000" cy="9807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hu-H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hu-HU" sz="2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Tartalom helye 2"/>
          <p:cNvSpPr txBox="1">
            <a:spLocks/>
          </p:cNvSpPr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/>
          <a:lstStyle/>
          <a:p>
            <a:pPr marL="342900" marR="0" lvl="0" indent="-342900" algn="ctr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z európai árampiac helyzete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08 óta jelentős változások következtek be. A </a:t>
            </a:r>
            <a:r>
              <a:rPr kumimoji="0" lang="hu-HU" sz="26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llamosenergia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és a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zéndioxid-kvóták iránti kereslet csökkenése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az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rikai palagáz-forradalom, a szénárak mérséklődése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és néhány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U tagállam megújuló energiás</a:t>
            </a:r>
            <a:r>
              <a:rPr kumimoji="0" lang="hu-HU" sz="2600" b="0" i="0" u="none" strike="noStrike" kern="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ejlesztései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átrendezték a piacot.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ontinentális európai nagykereskedelmi árampiacokon folyamatosan csökkenő árak alakultak ki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Ezeket azonban a fogyasztók nem érzékelték a többnyire kötelező átvételi rendszerben termelő megújulós erőművek fokozódó ártámogatása következtében. </a:t>
            </a:r>
          </a:p>
          <a:p>
            <a:pPr marL="342900" lvl="0" indent="-342900" eaLnBrk="0" hangingPunct="0">
              <a:spcBef>
                <a:spcPct val="20000"/>
              </a:spcBef>
            </a:pPr>
            <a:r>
              <a:rPr lang="hu-HU" sz="2600" kern="0" dirty="0" smtClean="0">
                <a:latin typeface="+mn-lt"/>
              </a:rPr>
              <a:t>A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öldgázárak nem követték a villamos energia nagykereskedelmi árainak csökkenését, a </a:t>
            </a:r>
            <a:r>
              <a:rPr kumimoji="0" lang="hu-HU" sz="2600" b="0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öldgázbázisú áramtermelés gazdaságilag ellehetetlenült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lang="hu-HU" sz="2600" kern="0" dirty="0" smtClean="0"/>
              <a:t>Európa számos országában </a:t>
            </a:r>
            <a:r>
              <a:rPr lang="hu-HU" sz="2600" u="sng" kern="0" dirty="0" smtClean="0">
                <a:solidFill>
                  <a:srgbClr val="FF0000"/>
                </a:solidFill>
              </a:rPr>
              <a:t>s</a:t>
            </a:r>
            <a:r>
              <a:rPr kumimoji="0" lang="hu-HU" sz="2600" b="0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rra állítják le a </a:t>
            </a:r>
            <a:r>
              <a:rPr kumimoji="0" lang="hu-HU" sz="2600" b="0" i="0" u="sng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orszrű</a:t>
            </a:r>
            <a:r>
              <a:rPr kumimoji="0" lang="hu-HU" sz="2600" b="0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gáztüzelésű erőműveket is.</a:t>
            </a:r>
          </a:p>
          <a:p>
            <a:pPr marL="342900" lvl="0" indent="-342900" eaLnBrk="0" hangingPunct="0">
              <a:spcBef>
                <a:spcPct val="20000"/>
              </a:spcBef>
            </a:pPr>
            <a:r>
              <a:rPr lang="hu-HU" sz="2600" u="sng" kern="0" dirty="0" smtClean="0">
                <a:solidFill>
                  <a:srgbClr val="FF0000"/>
                </a:solidFill>
                <a:latin typeface="+mn-lt"/>
              </a:rPr>
              <a:t>Az EU </a:t>
            </a:r>
            <a:r>
              <a:rPr lang="hu-HU" sz="2600" u="sng" kern="0" dirty="0" err="1" smtClean="0">
                <a:solidFill>
                  <a:srgbClr val="FF0000"/>
                </a:solidFill>
                <a:latin typeface="+mn-lt"/>
              </a:rPr>
              <a:t>villamosenergia</a:t>
            </a:r>
            <a:r>
              <a:rPr lang="hu-HU" sz="2600" u="sng" kern="0" dirty="0" smtClean="0">
                <a:solidFill>
                  <a:srgbClr val="FF0000"/>
                </a:solidFill>
                <a:latin typeface="+mn-lt"/>
              </a:rPr>
              <a:t> fogyasztása az elmúlt évben 1,9%-kal nőtt.</a:t>
            </a:r>
            <a:endParaRPr kumimoji="0" lang="hu-HU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18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28800"/>
            <a:ext cx="9144000" cy="52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0" y="0"/>
            <a:ext cx="9144000" cy="1556792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U </a:t>
            </a:r>
            <a:r>
              <a:rPr kumimoji="0" lang="hu-HU" sz="2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ends</a:t>
            </a: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hu-HU" sz="2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o</a:t>
            </a: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2050 </a:t>
            </a:r>
            <a:r>
              <a:rPr kumimoji="0" lang="hu-HU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hu-HU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 villamosenergia-mix alakulása 2000-2050-ig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sz="2800" kern="0" dirty="0" smtClean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Áram termelés, 2000-2050, 2800-4200TWh, 50%</a:t>
            </a:r>
            <a:endParaRPr kumimoji="0" lang="hu-HU" sz="28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1660525" y="5832475"/>
            <a:ext cx="8778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/>
              <a:t>Atom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914400" y="5105400"/>
            <a:ext cx="15700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/>
              <a:t>Szén, lignit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124200" y="4800600"/>
            <a:ext cx="11652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/>
              <a:t>Földgáz</a:t>
            </a: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3048000" y="3962400"/>
            <a:ext cx="14017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/>
              <a:t>Vízerőmű</a:t>
            </a: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3505200" y="3429000"/>
            <a:ext cx="7080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>
                <a:solidFill>
                  <a:schemeClr val="bg1"/>
                </a:solidFill>
              </a:rPr>
              <a:t>Szél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3131840" y="2708920"/>
            <a:ext cx="1955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sz="1800" dirty="0"/>
              <a:t>Szolár, hullám, stb.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2971800" y="4319588"/>
            <a:ext cx="1282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sz="2000">
                <a:solidFill>
                  <a:schemeClr val="bg1"/>
                </a:solidFill>
              </a:rPr>
              <a:t>Biomassza</a:t>
            </a:r>
          </a:p>
        </p:txBody>
      </p:sp>
      <p:sp>
        <p:nvSpPr>
          <p:cNvPr id="13" name="Dia számának helye 10"/>
          <p:cNvSpPr txBox="1">
            <a:spLocks/>
          </p:cNvSpPr>
          <p:nvPr/>
        </p:nvSpPr>
        <p:spPr bwMode="auto">
          <a:xfrm>
            <a:off x="6705600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601F92-1094-441B-925C-8A68BE201303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hu-HU" sz="1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4" name="Szövegdoboz 13"/>
          <p:cNvSpPr txBox="1"/>
          <p:nvPr/>
        </p:nvSpPr>
        <p:spPr>
          <a:xfrm>
            <a:off x="1305151" y="2708920"/>
            <a:ext cx="5041766" cy="156966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hu-HU" b="1" dirty="0" smtClean="0">
                <a:solidFill>
                  <a:schemeClr val="accent2"/>
                </a:solidFill>
              </a:rPr>
              <a:t>Az EU-ban 2000-től 2050-ig 50 %-os </a:t>
            </a:r>
          </a:p>
          <a:p>
            <a:pPr algn="ctr"/>
            <a:r>
              <a:rPr lang="hu-HU" b="1" dirty="0" smtClean="0">
                <a:solidFill>
                  <a:schemeClr val="accent2"/>
                </a:solidFill>
              </a:rPr>
              <a:t>áramfogyasztás növekedés várható.</a:t>
            </a:r>
          </a:p>
          <a:p>
            <a:pPr algn="ctr"/>
            <a:r>
              <a:rPr lang="hu-HU" b="1" dirty="0" smtClean="0">
                <a:solidFill>
                  <a:schemeClr val="accent2"/>
                </a:solidFill>
              </a:rPr>
              <a:t>Feltehető, hogy a hazai fogyasztás</a:t>
            </a:r>
          </a:p>
          <a:p>
            <a:pPr algn="ctr"/>
            <a:r>
              <a:rPr lang="hu-HU" b="1" dirty="0" smtClean="0">
                <a:solidFill>
                  <a:schemeClr val="accent2"/>
                </a:solidFill>
              </a:rPr>
              <a:t>hasonló módon nő</a:t>
            </a:r>
            <a:endParaRPr lang="hu-HU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allAtOnce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19</a:t>
            </a:fld>
            <a:endParaRPr lang="hu-HU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0" y="0"/>
            <a:ext cx="9144000" cy="1196752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 francia és a német áram-mix, </a:t>
            </a:r>
            <a:br>
              <a:rPr kumimoji="0" lang="hu-HU" sz="4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013, 2014 és 2015, január, </a:t>
            </a:r>
            <a:r>
              <a:rPr kumimoji="0" lang="hu-HU" sz="2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Wh</a:t>
            </a:r>
            <a:endParaRPr kumimoji="0" lang="hu-HU" sz="2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Dia számának helye 4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1DCC51-97B1-4B07-8D40-BF77F4A9EF74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5" name="Tartalom helye 5"/>
          <p:cNvPicPr>
            <a:picLocks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40769"/>
            <a:ext cx="4495800" cy="3240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Tartalom helye 6"/>
          <p:cNvPicPr>
            <a:picLocks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8200" y="1340768"/>
            <a:ext cx="4495800" cy="3168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zövegdoboz 6"/>
          <p:cNvSpPr txBox="1"/>
          <p:nvPr/>
        </p:nvSpPr>
        <p:spPr>
          <a:xfrm>
            <a:off x="0" y="4725144"/>
            <a:ext cx="91440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dirty="0" smtClean="0">
                <a:solidFill>
                  <a:srgbClr val="FF0000"/>
                </a:solidFill>
              </a:rPr>
              <a:t>A</a:t>
            </a:r>
            <a:r>
              <a:rPr lang="hu-HU" sz="3200" dirty="0" smtClean="0"/>
              <a:t> </a:t>
            </a:r>
            <a:r>
              <a:rPr lang="hu-HU" sz="3200" dirty="0" smtClean="0">
                <a:solidFill>
                  <a:srgbClr val="FF0000"/>
                </a:solidFill>
              </a:rPr>
              <a:t>nagy különbségek miatt érdemi, közös EU-s energiapolitika vagy Energia Unió nem dolgozható ki</a:t>
            </a:r>
            <a:r>
              <a:rPr lang="hu-HU" sz="3200" dirty="0" smtClean="0"/>
              <a:t>, legfeljebb egy-két témában, pl. a </a:t>
            </a:r>
            <a:r>
              <a:rPr lang="hu-HU" sz="3200" dirty="0" smtClean="0">
                <a:solidFill>
                  <a:srgbClr val="FF0000"/>
                </a:solidFill>
              </a:rPr>
              <a:t>klímavédelem, az energiahatékonyság vagy az energiapiacok </a:t>
            </a:r>
            <a:r>
              <a:rPr lang="hu-HU" sz="3200" dirty="0" smtClean="0"/>
              <a:t>területén.</a:t>
            </a:r>
            <a:endParaRPr lang="hu-HU" sz="3200" dirty="0"/>
          </a:p>
        </p:txBody>
      </p:sp>
      <p:sp>
        <p:nvSpPr>
          <p:cNvPr id="8" name="Szövegdoboz 7"/>
          <p:cNvSpPr txBox="1"/>
          <p:nvPr/>
        </p:nvSpPr>
        <p:spPr>
          <a:xfrm>
            <a:off x="2339752" y="1556792"/>
            <a:ext cx="187220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>
                <a:solidFill>
                  <a:schemeClr val="accent2"/>
                </a:solidFill>
              </a:rPr>
              <a:t>Francia-mix</a:t>
            </a:r>
            <a:endParaRPr lang="hu-HU" sz="1800" dirty="0" smtClean="0">
              <a:solidFill>
                <a:schemeClr val="accent2"/>
              </a:solidFill>
            </a:endParaRPr>
          </a:p>
          <a:p>
            <a:pPr algn="ctr"/>
            <a:r>
              <a:rPr lang="hu-HU" sz="1800" dirty="0" smtClean="0">
                <a:solidFill>
                  <a:srgbClr val="FF0000"/>
                </a:solidFill>
              </a:rPr>
              <a:t>Az atom dominál</a:t>
            </a:r>
          </a:p>
          <a:p>
            <a:endParaRPr lang="hu-HU" dirty="0">
              <a:solidFill>
                <a:schemeClr val="accent2"/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5940152" y="1628800"/>
            <a:ext cx="273630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>
                <a:solidFill>
                  <a:schemeClr val="accent2"/>
                </a:solidFill>
              </a:rPr>
              <a:t>Német-mix</a:t>
            </a:r>
            <a:endParaRPr lang="hu-HU" sz="1800" dirty="0" smtClean="0">
              <a:solidFill>
                <a:schemeClr val="accent2"/>
              </a:solidFill>
            </a:endParaRPr>
          </a:p>
          <a:p>
            <a:pPr algn="ctr"/>
            <a:r>
              <a:rPr lang="hu-HU" sz="1800" dirty="0" smtClean="0">
                <a:solidFill>
                  <a:srgbClr val="FF0000"/>
                </a:solidFill>
              </a:rPr>
              <a:t>Az éghető tüzelő-anyagok</a:t>
            </a:r>
          </a:p>
          <a:p>
            <a:pPr algn="ctr"/>
            <a:r>
              <a:rPr lang="hu-HU" sz="1800" dirty="0" smtClean="0">
                <a:solidFill>
                  <a:srgbClr val="FF0000"/>
                </a:solidFill>
              </a:rPr>
              <a:t>dominálnak.</a:t>
            </a:r>
          </a:p>
          <a:p>
            <a:pPr algn="ctr"/>
            <a:r>
              <a:rPr lang="hu-HU" sz="1800" b="1" dirty="0" smtClean="0">
                <a:solidFill>
                  <a:srgbClr val="FF0000"/>
                </a:solidFill>
              </a:rPr>
              <a:t>A megújulók aránya 15%</a:t>
            </a:r>
          </a:p>
          <a:p>
            <a:pPr algn="ctr"/>
            <a:endParaRPr lang="hu-HU" sz="1800" b="1" dirty="0" smtClean="0">
              <a:solidFill>
                <a:srgbClr val="FF0000"/>
              </a:solidFill>
            </a:endParaRPr>
          </a:p>
          <a:p>
            <a:endParaRPr lang="hu-HU" dirty="0">
              <a:solidFill>
                <a:schemeClr val="accent2"/>
              </a:solidFill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611560" y="4509120"/>
            <a:ext cx="4085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800" dirty="0" smtClean="0"/>
              <a:t>Éghető       Atom       Víz    Geo, szél, nap</a:t>
            </a:r>
            <a:endParaRPr lang="hu-HU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1340768"/>
            <a:ext cx="9144000" cy="2016224"/>
          </a:xfrm>
        </p:spPr>
        <p:txBody>
          <a:bodyPr/>
          <a:lstStyle/>
          <a:p>
            <a:r>
              <a:rPr lang="hu-HU" dirty="0" smtClean="0"/>
              <a:t>A hazai </a:t>
            </a:r>
            <a:r>
              <a:rPr lang="hu-HU" dirty="0" err="1" smtClean="0"/>
              <a:t>villamosenergia</a:t>
            </a:r>
            <a:r>
              <a:rPr lang="hu-HU" dirty="0" smtClean="0"/>
              <a:t> </a:t>
            </a:r>
            <a:br>
              <a:rPr lang="hu-HU" dirty="0" smtClean="0"/>
            </a:br>
            <a:r>
              <a:rPr lang="hu-HU" dirty="0" smtClean="0"/>
              <a:t>ágazat helyzete </a:t>
            </a: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2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20</a:t>
            </a:fld>
            <a:endParaRPr lang="hu-HU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0" y="0"/>
            <a:ext cx="9144000" cy="21328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egújuló energia támogatások </a:t>
            </a:r>
            <a:r>
              <a:rPr kumimoji="0" lang="hu-HU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hu-HU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 top-15 országban, 2013, Mrd USD</a:t>
            </a:r>
          </a:p>
          <a:p>
            <a:pPr lvl="0" algn="ctr" eaLnBrk="0" hangingPunct="0">
              <a:defRPr/>
            </a:pPr>
            <a:r>
              <a:rPr lang="hu-HU" sz="2000" dirty="0" smtClean="0">
                <a:solidFill>
                  <a:srgbClr val="FF0000"/>
                </a:solidFill>
              </a:rPr>
              <a:t>A fajlagos német támogatások 5-10-20-szor nagyobbak, mint a fejlett országokban. Kínánál 50-szer, Indiánál 160-szor nagyobb a német fajlagos támogatás </a:t>
            </a:r>
            <a:r>
              <a:rPr kumimoji="0" lang="hu-H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hu-H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hu-HU" sz="26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8" name="Kép 7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204864"/>
            <a:ext cx="9144000" cy="4653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Szövegdoboz 9"/>
          <p:cNvSpPr txBox="1"/>
          <p:nvPr/>
        </p:nvSpPr>
        <p:spPr>
          <a:xfrm>
            <a:off x="2994560" y="4077072"/>
            <a:ext cx="6017994" cy="2123658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pPr algn="ctr"/>
            <a:r>
              <a:rPr lang="hu-HU" sz="2000" dirty="0" smtClean="0">
                <a:solidFill>
                  <a:srgbClr val="FF0000"/>
                </a:solidFill>
              </a:rPr>
              <a:t>A német megújuló energiák gyors felfutását sem </a:t>
            </a:r>
          </a:p>
          <a:p>
            <a:pPr algn="ctr"/>
            <a:r>
              <a:rPr lang="hu-HU" sz="2000" dirty="0" smtClean="0">
                <a:solidFill>
                  <a:srgbClr val="FF0000"/>
                </a:solidFill>
              </a:rPr>
              <a:t>a megújulók magas versenyképessége okozza, hanem </a:t>
            </a:r>
          </a:p>
          <a:p>
            <a:pPr algn="ctr"/>
            <a:r>
              <a:rPr lang="hu-HU" sz="2000" dirty="0" smtClean="0">
                <a:solidFill>
                  <a:srgbClr val="FF0000"/>
                </a:solidFill>
              </a:rPr>
              <a:t>a rendkívül nagy támogatás. 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  <a:cs typeface="Times New Roman" pitchFamily="18" charset="0"/>
              </a:rPr>
              <a:t>Kérdés, hogy a hatalmas német </a:t>
            </a:r>
            <a:r>
              <a:rPr lang="hu-HU" b="1" dirty="0" smtClean="0">
                <a:solidFill>
                  <a:srgbClr val="FF0000"/>
                </a:solidFill>
                <a:cs typeface="Times New Roman" pitchFamily="18" charset="0"/>
              </a:rPr>
              <a:t>támogatások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  <a:cs typeface="Times New Roman" pitchFamily="18" charset="0"/>
              </a:rPr>
              <a:t>hogyan hatnak a </a:t>
            </a:r>
            <a:r>
              <a:rPr lang="hu-HU" b="1" dirty="0" smtClean="0">
                <a:solidFill>
                  <a:srgbClr val="FF0000"/>
                </a:solidFill>
                <a:cs typeface="Times New Roman" pitchFamily="18" charset="0"/>
              </a:rPr>
              <a:t>versenyképességre</a:t>
            </a:r>
            <a:r>
              <a:rPr lang="hu-HU" dirty="0" smtClean="0">
                <a:solidFill>
                  <a:srgbClr val="FF0000"/>
                </a:solidFill>
                <a:cs typeface="Times New Roman" pitchFamily="18" charset="0"/>
              </a:rPr>
              <a:t>, és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  <a:cs typeface="Times New Roman" pitchFamily="18" charset="0"/>
              </a:rPr>
              <a:t>meddig marad meg a </a:t>
            </a:r>
            <a:r>
              <a:rPr lang="hu-HU" b="1" dirty="0" smtClean="0">
                <a:solidFill>
                  <a:srgbClr val="FF0000"/>
                </a:solidFill>
                <a:cs typeface="Times New Roman" pitchFamily="18" charset="0"/>
              </a:rPr>
              <a:t>politikai támogatottság</a:t>
            </a:r>
            <a:r>
              <a:rPr lang="hu-HU" dirty="0" smtClean="0">
                <a:solidFill>
                  <a:srgbClr val="FF0000"/>
                </a:solidFill>
                <a:cs typeface="Times New Roman" pitchFamily="18" charset="0"/>
              </a:rPr>
              <a:t>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allAtOnce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21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4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556792"/>
            <a:ext cx="9144000" cy="5301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Dia számának helye 3"/>
          <p:cNvSpPr txBox="1">
            <a:spLocks/>
          </p:cNvSpPr>
          <p:nvPr/>
        </p:nvSpPr>
        <p:spPr bwMode="auto">
          <a:xfrm>
            <a:off x="6705600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8C5C57-DCE6-43B7-913A-609FF2D04430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hu-HU" sz="1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0" y="0"/>
            <a:ext cx="91440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>
                <a:solidFill>
                  <a:srgbClr val="FF0000"/>
                </a:solidFill>
              </a:rPr>
              <a:t>Meddig kell még támogatni a megújulókat?</a:t>
            </a:r>
            <a:endParaRPr lang="hu-HU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hu-HU" sz="3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Globális megújuló energia támogatások típusonként </a:t>
            </a:r>
          </a:p>
          <a:p>
            <a:pPr algn="ctr"/>
            <a:r>
              <a:rPr lang="hu-H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az Új Politikák szcenárió szerint, </a:t>
            </a:r>
          </a:p>
          <a:p>
            <a:pPr algn="ctr"/>
            <a:r>
              <a:rPr lang="hu-HU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2007-2040</a:t>
            </a:r>
            <a:r>
              <a:rPr lang="hu-HU" sz="2000" dirty="0" smtClean="0">
                <a:solidFill>
                  <a:schemeClr val="tx2"/>
                </a:solidFill>
                <a:cs typeface="Times New Roman" pitchFamily="18" charset="0"/>
              </a:rPr>
              <a:t> </a:t>
            </a:r>
            <a:r>
              <a:rPr lang="hu-HU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milliárd USD (2013)</a:t>
            </a:r>
            <a:endParaRPr lang="hu-HU" sz="20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4499992" y="2132856"/>
            <a:ext cx="10567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Biodiesel</a:t>
            </a:r>
            <a:endParaRPr lang="hu-H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2627784" y="5805264"/>
            <a:ext cx="17107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Szél</a:t>
            </a:r>
            <a:r>
              <a:rPr lang="hu-HU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, szárazföldi</a:t>
            </a:r>
            <a:endParaRPr lang="hu-H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5076056" y="5589240"/>
            <a:ext cx="133882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dirty="0" smtClean="0">
                <a:solidFill>
                  <a:schemeClr val="accent4"/>
                </a:solidFill>
                <a:latin typeface="Times New Roman" pitchFamily="18" charset="0"/>
                <a:cs typeface="Times New Roman" pitchFamily="18" charset="0"/>
              </a:rPr>
              <a:t>Szél, tengeri</a:t>
            </a:r>
            <a:endParaRPr lang="hu-HU" dirty="0">
              <a:solidFill>
                <a:schemeClr val="accent4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4139952" y="4941168"/>
            <a:ext cx="119359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Bioenergia</a:t>
            </a:r>
            <a:endParaRPr lang="hu-HU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3203848" y="3861048"/>
            <a:ext cx="11272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zolár PV</a:t>
            </a:r>
            <a:endParaRPr lang="hu-H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5724128" y="3501008"/>
            <a:ext cx="1387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zolár, konc.</a:t>
            </a:r>
            <a:endParaRPr lang="hu-H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4427984" y="2564904"/>
            <a:ext cx="78739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Etanol</a:t>
            </a:r>
            <a:endParaRPr lang="hu-H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 Box 8"/>
          <p:cNvSpPr txBox="1">
            <a:spLocks noChangeArrowheads="1"/>
          </p:cNvSpPr>
          <p:nvPr/>
        </p:nvSpPr>
        <p:spPr bwMode="auto">
          <a:xfrm>
            <a:off x="6228184" y="3068960"/>
            <a:ext cx="77457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Egyéb</a:t>
            </a:r>
            <a:endParaRPr lang="hu-H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Szövegdoboz 15"/>
          <p:cNvSpPr txBox="1"/>
          <p:nvPr/>
        </p:nvSpPr>
        <p:spPr>
          <a:xfrm>
            <a:off x="1259632" y="2348880"/>
            <a:ext cx="20569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000" dirty="0" smtClean="0">
                <a:latin typeface="Times New Roman" pitchFamily="18" charset="0"/>
                <a:cs typeface="Times New Roman" pitchFamily="18" charset="0"/>
              </a:rPr>
              <a:t>Tény    Prognózis</a:t>
            </a:r>
            <a:endParaRPr lang="hu-H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Szövegdoboz 16"/>
          <p:cNvSpPr txBox="1"/>
          <p:nvPr/>
        </p:nvSpPr>
        <p:spPr>
          <a:xfrm>
            <a:off x="2051720" y="4293096"/>
            <a:ext cx="53896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solidFill>
                  <a:schemeClr val="accent2"/>
                </a:solidFill>
              </a:rPr>
              <a:t>Még 2040-ben is jelentős támogatás lesz</a:t>
            </a:r>
            <a:endParaRPr lang="hu-HU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22</a:t>
            </a:fld>
            <a:endParaRPr lang="hu-HU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0" y="0"/>
            <a:ext cx="9144000" cy="1556792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Van-e értelme a megújulók erőltetett növelésének?</a:t>
            </a:r>
            <a:b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it </a:t>
            </a:r>
            <a:r>
              <a:rPr lang="hu-HU" sz="320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esz</a:t>
            </a:r>
            <a: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z Egyesült Államok?</a:t>
            </a:r>
            <a:endParaRPr kumimoji="0" lang="hu-HU" sz="32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5" name="irc_mi" descr="https://images.angelpub.com/2012/02/12432/energy-mix-us.jpg"/>
          <p:cNvPicPr>
            <a:picLocks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12776"/>
            <a:ext cx="9144000" cy="4248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zövegdoboz 5"/>
          <p:cNvSpPr txBox="1"/>
          <p:nvPr/>
        </p:nvSpPr>
        <p:spPr>
          <a:xfrm>
            <a:off x="0" y="5805264"/>
            <a:ext cx="90629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dirty="0" smtClean="0">
                <a:solidFill>
                  <a:srgbClr val="FF0000"/>
                </a:solidFill>
              </a:rPr>
              <a:t>Az USA energiamérlegben a napenergia 0,1%-ot,</a:t>
            </a:r>
          </a:p>
          <a:p>
            <a:pPr algn="ctr"/>
            <a:r>
              <a:rPr lang="hu-HU" sz="3200" dirty="0" smtClean="0">
                <a:solidFill>
                  <a:srgbClr val="FF0000"/>
                </a:solidFill>
              </a:rPr>
              <a:t> a szélenergia 0,9%-ot, </a:t>
            </a:r>
            <a:r>
              <a:rPr lang="hu-HU" sz="3200" b="1" dirty="0" smtClean="0">
                <a:solidFill>
                  <a:srgbClr val="FF0000"/>
                </a:solidFill>
              </a:rPr>
              <a:t>összesen 1%-ot tesz ki</a:t>
            </a:r>
            <a:endParaRPr lang="hu-HU" sz="32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23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4" name="Cím 1"/>
          <p:cNvSpPr txBox="1">
            <a:spLocks/>
          </p:cNvSpPr>
          <p:nvPr/>
        </p:nvSpPr>
        <p:spPr>
          <a:xfrm>
            <a:off x="0" y="0"/>
            <a:ext cx="9144000" cy="18002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0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Villamosenergia termelés az OECD-ben</a:t>
            </a:r>
            <a:br>
              <a:rPr kumimoji="0" lang="hu-HU" sz="3600" b="0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2400" b="0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z OECD energia-mixben dominálnak az éghető energiahordozók 61%), őket követi az atom (19%) és a vízenergia (14%). A megújuló energiák részaránya mindössze 6%. </a:t>
            </a:r>
            <a:endParaRPr kumimoji="0" lang="hu-HU" sz="36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916832"/>
            <a:ext cx="9144000" cy="4941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24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4" name="Picture 2" descr="http://www.dw.de/image/0,,17097843_401,00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4221088"/>
          </a:xfrm>
          <a:prstGeom prst="rect">
            <a:avLst/>
          </a:prstGeom>
          <a:noFill/>
        </p:spPr>
      </p:pic>
      <p:sp>
        <p:nvSpPr>
          <p:cNvPr id="5" name="Szövegdoboz 4"/>
          <p:cNvSpPr txBox="1"/>
          <p:nvPr/>
        </p:nvSpPr>
        <p:spPr>
          <a:xfrm>
            <a:off x="0" y="4293096"/>
            <a:ext cx="90629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dirty="0" smtClean="0">
                <a:solidFill>
                  <a:srgbClr val="FF0000"/>
                </a:solidFill>
              </a:rPr>
              <a:t>A német energiamérlegben a napenergia 5%-ot,</a:t>
            </a:r>
          </a:p>
          <a:p>
            <a:pPr algn="ctr"/>
            <a:r>
              <a:rPr lang="hu-HU" sz="3200" dirty="0" smtClean="0">
                <a:solidFill>
                  <a:srgbClr val="FF0000"/>
                </a:solidFill>
              </a:rPr>
              <a:t> a szélenergia 8%-ot, </a:t>
            </a:r>
            <a:r>
              <a:rPr lang="hu-HU" sz="3200" b="1" dirty="0" smtClean="0">
                <a:solidFill>
                  <a:srgbClr val="FF0000"/>
                </a:solidFill>
              </a:rPr>
              <a:t>összesen: 13%-ot tesz ki.</a:t>
            </a:r>
          </a:p>
          <a:p>
            <a:pPr algn="ctr"/>
            <a:r>
              <a:rPr lang="hu-HU" sz="3000" b="1" dirty="0" smtClean="0">
                <a:solidFill>
                  <a:srgbClr val="FF0000"/>
                </a:solidFill>
              </a:rPr>
              <a:t>Nap + szélenergia: mi indokolja, hogy a németeknél 13-szor nagyobb, mint az USA-ban?</a:t>
            </a:r>
          </a:p>
          <a:p>
            <a:pPr algn="ctr"/>
            <a:r>
              <a:rPr lang="hu-HU" sz="3000" b="1" dirty="0" smtClean="0">
                <a:solidFill>
                  <a:srgbClr val="FF0000"/>
                </a:solidFill>
              </a:rPr>
              <a:t>A RES az USA-ban 8%, mi miért akarunk 27%-ot? </a:t>
            </a:r>
            <a:endParaRPr lang="hu-HU" sz="3000" b="1" dirty="0">
              <a:solidFill>
                <a:srgbClr val="FF0000"/>
              </a:solidFill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6660232" y="1196752"/>
            <a:ext cx="24080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0000"/>
                </a:solidFill>
              </a:rPr>
              <a:t>Barna szén (+3%)</a:t>
            </a:r>
            <a:endParaRPr lang="hu-HU" dirty="0">
              <a:solidFill>
                <a:srgbClr val="FF0000"/>
              </a:solidFill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6876256" y="2276872"/>
            <a:ext cx="16273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0000"/>
                </a:solidFill>
              </a:rPr>
              <a:t>Fekete szén</a:t>
            </a:r>
            <a:endParaRPr lang="hu-HU" dirty="0">
              <a:solidFill>
                <a:srgbClr val="FF0000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6876256" y="2924944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800" dirty="0" smtClean="0">
                <a:solidFill>
                  <a:srgbClr val="FF0000"/>
                </a:solidFill>
              </a:rPr>
              <a:t>Földgáz</a:t>
            </a:r>
            <a:endParaRPr lang="hu-HU" sz="1800" dirty="0">
              <a:solidFill>
                <a:srgbClr val="FF0000"/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6660232" y="3717032"/>
            <a:ext cx="1588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800" dirty="0" smtClean="0">
                <a:solidFill>
                  <a:srgbClr val="FF0000"/>
                </a:solidFill>
              </a:rPr>
              <a:t>Egyéb fosszilis</a:t>
            </a:r>
            <a:endParaRPr lang="hu-HU" sz="1800" dirty="0">
              <a:solidFill>
                <a:srgbClr val="FF0000"/>
              </a:solidFill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827584" y="2924944"/>
            <a:ext cx="8851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0000"/>
                </a:solidFill>
              </a:rPr>
              <a:t>Atom</a:t>
            </a:r>
            <a:endParaRPr lang="hu-HU" dirty="0">
              <a:solidFill>
                <a:srgbClr val="FF0000"/>
              </a:solidFill>
            </a:endParaRPr>
          </a:p>
        </p:txBody>
      </p:sp>
      <p:sp>
        <p:nvSpPr>
          <p:cNvPr id="11" name="Szövegdoboz 10"/>
          <p:cNvSpPr txBox="1"/>
          <p:nvPr/>
        </p:nvSpPr>
        <p:spPr>
          <a:xfrm rot="16200000">
            <a:off x="-217999" y="1379555"/>
            <a:ext cx="13083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000" dirty="0" smtClean="0">
                <a:solidFill>
                  <a:srgbClr val="FF0000"/>
                </a:solidFill>
              </a:rPr>
              <a:t>Megújulók</a:t>
            </a:r>
            <a:endParaRPr lang="hu-HU" sz="2000" dirty="0">
              <a:solidFill>
                <a:srgbClr val="FF0000"/>
              </a:solidFill>
            </a:endParaRPr>
          </a:p>
        </p:txBody>
      </p:sp>
      <p:sp>
        <p:nvSpPr>
          <p:cNvPr id="12" name="Szövegdoboz 11"/>
          <p:cNvSpPr txBox="1"/>
          <p:nvPr/>
        </p:nvSpPr>
        <p:spPr>
          <a:xfrm>
            <a:off x="8390" y="2348880"/>
            <a:ext cx="8992783" cy="1077218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pPr algn="ctr"/>
            <a:r>
              <a:rPr lang="hu-HU" sz="3200" dirty="0" smtClean="0">
                <a:solidFill>
                  <a:schemeClr val="accent6"/>
                </a:solidFill>
              </a:rPr>
              <a:t>Németország más úton jár, mint a többi fejlett ország.</a:t>
            </a:r>
          </a:p>
          <a:p>
            <a:pPr algn="ctr"/>
            <a:r>
              <a:rPr lang="hu-HU" sz="3200" dirty="0" smtClean="0">
                <a:solidFill>
                  <a:schemeClr val="accent6"/>
                </a:solidFill>
              </a:rPr>
              <a:t>Ki lesz ennek a helyzetnek a nyertese?</a:t>
            </a:r>
            <a:endParaRPr lang="hu-HU" sz="3200" dirty="0">
              <a:solidFill>
                <a:schemeClr val="accent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allAtOnce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1484784"/>
            <a:ext cx="9144000" cy="2520280"/>
          </a:xfrm>
        </p:spPr>
        <p:txBody>
          <a:bodyPr/>
          <a:lstStyle/>
          <a:p>
            <a:r>
              <a:rPr lang="hu-HU" sz="4000" dirty="0" smtClean="0"/>
              <a:t>Gondolatok az új német</a:t>
            </a:r>
            <a:br>
              <a:rPr lang="hu-HU" sz="4000" dirty="0" smtClean="0"/>
            </a:br>
            <a:r>
              <a:rPr lang="hu-HU" sz="4000" dirty="0" smtClean="0"/>
              <a:t> energiapolitikai fordulatról,</a:t>
            </a:r>
            <a:br>
              <a:rPr lang="hu-HU" sz="4000" dirty="0" smtClean="0"/>
            </a:br>
            <a:r>
              <a:rPr lang="hu-HU" sz="4000" dirty="0" smtClean="0"/>
              <a:t>az </a:t>
            </a:r>
            <a:r>
              <a:rPr lang="hu-HU" sz="4000" dirty="0" err="1" smtClean="0"/>
              <a:t>Energiewendéről</a:t>
            </a:r>
            <a:endParaRPr lang="hu-HU" sz="40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25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052736"/>
          </a:xfrm>
        </p:spPr>
        <p:txBody>
          <a:bodyPr/>
          <a:lstStyle/>
          <a:p>
            <a:r>
              <a:rPr lang="hu-HU" dirty="0" smtClean="0"/>
              <a:t>Mi az </a:t>
            </a:r>
            <a:r>
              <a:rPr lang="hu-HU" dirty="0" err="1" smtClean="0"/>
              <a:t>Energiewende</a:t>
            </a:r>
            <a:r>
              <a:rPr lang="hu-HU" dirty="0" smtClean="0"/>
              <a:t>?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980728"/>
            <a:ext cx="9144000" cy="5877272"/>
          </a:xfrm>
        </p:spPr>
        <p:txBody>
          <a:bodyPr/>
          <a:lstStyle/>
          <a:p>
            <a:pPr>
              <a:buNone/>
            </a:pPr>
            <a:r>
              <a:rPr lang="hu-HU" dirty="0" smtClean="0"/>
              <a:t>Az </a:t>
            </a:r>
            <a:r>
              <a:rPr lang="hu-HU" dirty="0" err="1" smtClean="0"/>
              <a:t>Energiewende</a:t>
            </a:r>
            <a:r>
              <a:rPr lang="hu-HU" dirty="0" smtClean="0"/>
              <a:t> egy </a:t>
            </a:r>
            <a:r>
              <a:rPr lang="hu-HU" dirty="0" smtClean="0">
                <a:solidFill>
                  <a:srgbClr val="FF0000"/>
                </a:solidFill>
              </a:rPr>
              <a:t>német politikai dokumentum</a:t>
            </a:r>
            <a:r>
              <a:rPr lang="hu-HU" dirty="0" smtClean="0"/>
              <a:t>, mely a </a:t>
            </a:r>
            <a:r>
              <a:rPr lang="hu-HU" dirty="0" smtClean="0">
                <a:solidFill>
                  <a:srgbClr val="FF0000"/>
                </a:solidFill>
              </a:rPr>
              <a:t>következő évtizedekre meghatározza a német energiapolitikát</a:t>
            </a:r>
            <a:r>
              <a:rPr lang="hu-HU" dirty="0" smtClean="0"/>
              <a:t>. </a:t>
            </a:r>
          </a:p>
          <a:p>
            <a:pPr>
              <a:buNone/>
            </a:pPr>
            <a:r>
              <a:rPr lang="hu-HU" dirty="0" smtClean="0"/>
              <a:t>Alapvető </a:t>
            </a:r>
            <a:r>
              <a:rPr lang="hu-HU" dirty="0" smtClean="0">
                <a:solidFill>
                  <a:srgbClr val="FF0000"/>
                </a:solidFill>
              </a:rPr>
              <a:t>célja a megújuló energiák gyorsított ütemű bevezetése, az energiahatékonyság fokozása továbbá a nukleáris energia leállítása</a:t>
            </a:r>
            <a:r>
              <a:rPr lang="hu-HU" dirty="0" smtClean="0"/>
              <a:t>. </a:t>
            </a:r>
          </a:p>
          <a:p>
            <a:pPr>
              <a:buNone/>
            </a:pPr>
            <a:r>
              <a:rPr lang="hu-HU" dirty="0" smtClean="0"/>
              <a:t>Az </a:t>
            </a:r>
            <a:r>
              <a:rPr lang="hu-HU" dirty="0" err="1" smtClean="0">
                <a:solidFill>
                  <a:srgbClr val="FF0000"/>
                </a:solidFill>
              </a:rPr>
              <a:t>Energiewende</a:t>
            </a:r>
            <a:r>
              <a:rPr lang="hu-HU" dirty="0" smtClean="0">
                <a:solidFill>
                  <a:srgbClr val="FF0000"/>
                </a:solidFill>
              </a:rPr>
              <a:t> megvalósításának teljes költsége </a:t>
            </a:r>
            <a:r>
              <a:rPr lang="hu-HU" dirty="0" smtClean="0"/>
              <a:t>a </a:t>
            </a:r>
            <a:r>
              <a:rPr lang="hu-HU" dirty="0" smtClean="0">
                <a:solidFill>
                  <a:srgbClr val="FF0000"/>
                </a:solidFill>
              </a:rPr>
              <a:t>2011-2050 közötti időszakra </a:t>
            </a:r>
            <a:r>
              <a:rPr lang="hu-HU" b="1" dirty="0" smtClean="0">
                <a:solidFill>
                  <a:srgbClr val="FF0000"/>
                </a:solidFill>
              </a:rPr>
              <a:t>1500 milliárd euró</a:t>
            </a:r>
            <a:r>
              <a:rPr lang="hu-HU" dirty="0" smtClean="0"/>
              <a:t>, tőkeköltség nélkül. </a:t>
            </a:r>
          </a:p>
          <a:p>
            <a:pPr>
              <a:buNone/>
            </a:pPr>
            <a:r>
              <a:rPr lang="hu-HU" dirty="0" smtClean="0"/>
              <a:t>A német kormány </a:t>
            </a:r>
            <a:r>
              <a:rPr lang="hu-HU" dirty="0" smtClean="0">
                <a:solidFill>
                  <a:srgbClr val="FF0000"/>
                </a:solidFill>
              </a:rPr>
              <a:t>az </a:t>
            </a:r>
            <a:r>
              <a:rPr lang="hu-HU" dirty="0" err="1" smtClean="0">
                <a:solidFill>
                  <a:srgbClr val="FF0000"/>
                </a:solidFill>
              </a:rPr>
              <a:t>Energiewendét</a:t>
            </a:r>
            <a:r>
              <a:rPr lang="hu-HU" dirty="0" smtClean="0">
                <a:solidFill>
                  <a:srgbClr val="FF0000"/>
                </a:solidFill>
              </a:rPr>
              <a:t> példaként szánja a többi ország részére</a:t>
            </a:r>
            <a:r>
              <a:rPr lang="hu-HU" dirty="0" smtClean="0"/>
              <a:t>. 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35C73D-A53E-4597-A98C-B715794DC14D}" type="slidenum">
              <a:rPr lang="hu-HU" smtClean="0"/>
              <a:pPr>
                <a:defRPr/>
              </a:pPr>
              <a:t>26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276872"/>
          </a:xfrm>
        </p:spPr>
        <p:txBody>
          <a:bodyPr/>
          <a:lstStyle/>
          <a:p>
            <a:r>
              <a:rPr lang="hu-HU" sz="3600" dirty="0" smtClean="0"/>
              <a:t>Az </a:t>
            </a:r>
            <a:r>
              <a:rPr lang="hu-HU" sz="3600" dirty="0" err="1" smtClean="0"/>
              <a:t>Energiewende</a:t>
            </a:r>
            <a:r>
              <a:rPr lang="hu-HU" sz="3600" dirty="0" smtClean="0"/>
              <a:t> célkitűzései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800" dirty="0" smtClean="0">
                <a:solidFill>
                  <a:srgbClr val="FF0000"/>
                </a:solidFill>
              </a:rPr>
              <a:t>Az </a:t>
            </a:r>
            <a:r>
              <a:rPr lang="hu-HU" sz="2800" dirty="0" err="1" smtClean="0">
                <a:solidFill>
                  <a:srgbClr val="FF0000"/>
                </a:solidFill>
              </a:rPr>
              <a:t>Energiewende</a:t>
            </a:r>
            <a:r>
              <a:rPr lang="hu-HU" sz="2800" dirty="0" smtClean="0">
                <a:solidFill>
                  <a:srgbClr val="FF0000"/>
                </a:solidFill>
              </a:rPr>
              <a:t> célok az </a:t>
            </a:r>
            <a:r>
              <a:rPr lang="hu-HU" sz="2800" dirty="0" err="1" smtClean="0">
                <a:solidFill>
                  <a:srgbClr val="FF0000"/>
                </a:solidFill>
              </a:rPr>
              <a:t>összfogyasztás</a:t>
            </a:r>
            <a:r>
              <a:rPr lang="hu-HU" sz="2800" dirty="0" smtClean="0">
                <a:solidFill>
                  <a:srgbClr val="FF0000"/>
                </a:solidFill>
              </a:rPr>
              <a:t> 50%-os, az áramfogyasztás 25%-os, az épületenergetikai és közlekedési fogyasztás 80 illetve 40%-os csökkenésével számolnak.</a:t>
            </a:r>
            <a:endParaRPr lang="hu-HU" sz="3600" dirty="0">
              <a:solidFill>
                <a:srgbClr val="FF0000"/>
              </a:solidFill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27</a:t>
            </a:fld>
            <a:endParaRPr lang="hu-HU"/>
          </a:p>
        </p:txBody>
      </p:sp>
      <p:sp>
        <p:nvSpPr>
          <p:cNvPr id="4" name="Dia számának helye 2"/>
          <p:cNvSpPr txBox="1">
            <a:spLocks/>
          </p:cNvSpPr>
          <p:nvPr/>
        </p:nvSpPr>
        <p:spPr bwMode="auto">
          <a:xfrm>
            <a:off x="6553200" y="6824464"/>
            <a:ext cx="1905000" cy="485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276872"/>
            <a:ext cx="9144000" cy="432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28</a:t>
            </a:fld>
            <a:endParaRPr lang="hu-HU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0" y="0"/>
            <a:ext cx="9144000" cy="134076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A </a:t>
            </a:r>
            <a:r>
              <a:rPr kumimoji="0" lang="hu-HU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Wende</a:t>
            </a:r>
            <a: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 forrása: </a:t>
            </a:r>
            <a: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z EEG illeték aránya az áramárban</a:t>
            </a:r>
            <a:b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EG = a megújuló energiák támogatására a háztartásokra kirótt adó</a:t>
            </a:r>
            <a:b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z EEG értéke 2014-ben: 6,24 Cent/kWh</a:t>
            </a:r>
            <a:endParaRPr kumimoji="0" lang="hu-HU" sz="2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5" name="Picture 2" descr="http://www.insm-oekonomenblog.de/wp-content/uploads/2011/07/EEG-Anteil-Strompreis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40768"/>
            <a:ext cx="9144000" cy="5517232"/>
          </a:xfrm>
          <a:prstGeom prst="rect">
            <a:avLst/>
          </a:prstGeom>
          <a:noFill/>
        </p:spPr>
      </p:pic>
      <p:sp>
        <p:nvSpPr>
          <p:cNvPr id="6" name="Szövegdoboz 5"/>
          <p:cNvSpPr txBox="1"/>
          <p:nvPr/>
        </p:nvSpPr>
        <p:spPr>
          <a:xfrm>
            <a:off x="713130" y="2492896"/>
            <a:ext cx="61963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3200" b="1" dirty="0" smtClean="0">
                <a:solidFill>
                  <a:srgbClr val="FF0000"/>
                </a:solidFill>
              </a:rPr>
              <a:t>KÖLTSÉG-CUNAMI!</a:t>
            </a:r>
          </a:p>
          <a:p>
            <a:pPr algn="ctr"/>
            <a:r>
              <a:rPr lang="hu-HU" sz="3200" b="1" dirty="0" smtClean="0">
                <a:solidFill>
                  <a:srgbClr val="FF0000"/>
                </a:solidFill>
              </a:rPr>
              <a:t>A Megújuló Energia Törvény által</a:t>
            </a:r>
          </a:p>
          <a:p>
            <a:pPr algn="ctr"/>
            <a:r>
              <a:rPr lang="hu-HU" sz="3200" b="1" dirty="0" smtClean="0">
                <a:solidFill>
                  <a:srgbClr val="FF0000"/>
                </a:solidFill>
              </a:rPr>
              <a:t>kivetett adó az áramár %-ában</a:t>
            </a:r>
            <a:endParaRPr lang="hu-HU" sz="32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/>
          <a:p>
            <a:r>
              <a:rPr lang="hu-HU" sz="3600" dirty="0" smtClean="0"/>
              <a:t>Az </a:t>
            </a:r>
            <a:r>
              <a:rPr lang="hu-HU" sz="3600" dirty="0" err="1" smtClean="0"/>
              <a:t>Energiewende</a:t>
            </a:r>
            <a:r>
              <a:rPr lang="hu-HU" sz="3600" dirty="0" smtClean="0"/>
              <a:t> eddigi negatív hatásai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196752"/>
            <a:ext cx="9144000" cy="5661248"/>
          </a:xfrm>
        </p:spPr>
        <p:txBody>
          <a:bodyPr/>
          <a:lstStyle/>
          <a:p>
            <a:pPr lvl="0"/>
            <a:r>
              <a:rPr lang="hu-HU" dirty="0" smtClean="0"/>
              <a:t>Az </a:t>
            </a:r>
            <a:r>
              <a:rPr lang="hu-HU" dirty="0" smtClean="0">
                <a:solidFill>
                  <a:srgbClr val="FF0000"/>
                </a:solidFill>
              </a:rPr>
              <a:t>atomerőművek leállítása </a:t>
            </a:r>
            <a:r>
              <a:rPr lang="hu-HU" dirty="0" smtClean="0"/>
              <a:t>miatt </a:t>
            </a:r>
            <a:r>
              <a:rPr lang="hu-HU" dirty="0" smtClean="0">
                <a:solidFill>
                  <a:srgbClr val="FF0000"/>
                </a:solidFill>
              </a:rPr>
              <a:t>a szénerőművek előretörése, az emissziók és a német importfüggőség növekedése</a:t>
            </a:r>
            <a:r>
              <a:rPr lang="hu-HU" dirty="0" smtClean="0"/>
              <a:t>;</a:t>
            </a:r>
          </a:p>
          <a:p>
            <a:pPr lvl="0"/>
            <a:r>
              <a:rPr lang="hu-HU" dirty="0" smtClean="0"/>
              <a:t>A túlfejlesztett szél és napenergiás rendszerek miatt a </a:t>
            </a:r>
            <a:r>
              <a:rPr lang="hu-HU" dirty="0" smtClean="0">
                <a:solidFill>
                  <a:srgbClr val="FF0000"/>
                </a:solidFill>
              </a:rPr>
              <a:t>meglévő szén- illetve földgáz tüzelésű erőművek anyagi ellehetetlenülése, az új fosszilis erőmű-építések leállása, növekvő rendszerszabályozási és ellátás-biztonsági gondok</a:t>
            </a:r>
            <a:r>
              <a:rPr lang="hu-HU" dirty="0" smtClean="0"/>
              <a:t>;</a:t>
            </a:r>
          </a:p>
          <a:p>
            <a:pPr lvl="0"/>
            <a:r>
              <a:rPr lang="hu-HU" dirty="0" smtClean="0">
                <a:solidFill>
                  <a:srgbClr val="FF0000"/>
                </a:solidFill>
              </a:rPr>
              <a:t>A háztartási </a:t>
            </a:r>
            <a:r>
              <a:rPr lang="hu-HU" dirty="0" err="1" smtClean="0">
                <a:solidFill>
                  <a:srgbClr val="FF0000"/>
                </a:solidFill>
              </a:rPr>
              <a:t>villamosenergia</a:t>
            </a:r>
            <a:r>
              <a:rPr lang="hu-HU" dirty="0" smtClean="0">
                <a:solidFill>
                  <a:srgbClr val="FF0000"/>
                </a:solidFill>
              </a:rPr>
              <a:t> árak gyors emelkedése, egyre növekvő költségvetési támogatási igény a megújuló energiák fejlesztésére</a:t>
            </a:r>
            <a:r>
              <a:rPr lang="hu-HU" dirty="0" smtClean="0"/>
              <a:t>.</a:t>
            </a:r>
          </a:p>
          <a:p>
            <a:pPr>
              <a:buNone/>
            </a:pP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35C73D-A53E-4597-A98C-B715794DC14D}" type="slidenum">
              <a:rPr lang="hu-HU" smtClean="0"/>
              <a:pPr>
                <a:defRPr/>
              </a:pPr>
              <a:t>29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/>
          <a:p>
            <a:r>
              <a:rPr lang="hu-HU" sz="3200" dirty="0" smtClean="0"/>
              <a:t>Magyarország energiaellátása, 1972-2012, </a:t>
            </a:r>
            <a:r>
              <a:rPr lang="hu-HU" sz="3200" dirty="0" err="1" smtClean="0"/>
              <a:t>Mtoe</a:t>
            </a:r>
            <a:endParaRPr lang="hu-HU" sz="32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3</a:t>
            </a:fld>
            <a:endParaRPr lang="hu-HU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96752"/>
            <a:ext cx="9144000" cy="5661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zövegdoboz 4"/>
          <p:cNvSpPr txBox="1"/>
          <p:nvPr/>
        </p:nvSpPr>
        <p:spPr>
          <a:xfrm>
            <a:off x="1979712" y="5517232"/>
            <a:ext cx="7825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FFFF"/>
                </a:solidFill>
              </a:rPr>
              <a:t>Szén</a:t>
            </a:r>
            <a:endParaRPr lang="hu-HU" dirty="0">
              <a:solidFill>
                <a:srgbClr val="FFFFFF"/>
              </a:solidFill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2123728" y="4293096"/>
            <a:ext cx="7136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FFFF"/>
                </a:solidFill>
              </a:rPr>
              <a:t>Olaj</a:t>
            </a:r>
            <a:endParaRPr lang="hu-HU" dirty="0">
              <a:solidFill>
                <a:srgbClr val="FFFFFF"/>
              </a:solidFill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2555776" y="2996952"/>
            <a:ext cx="11753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002060"/>
                </a:solidFill>
              </a:rPr>
              <a:t>Földgáz</a:t>
            </a:r>
            <a:endParaRPr lang="hu-HU" dirty="0">
              <a:solidFill>
                <a:srgbClr val="002060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5364088" y="2852936"/>
            <a:ext cx="8851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002060"/>
                </a:solidFill>
              </a:rPr>
              <a:t>Atom</a:t>
            </a:r>
            <a:endParaRPr lang="hu-HU" dirty="0">
              <a:solidFill>
                <a:srgbClr val="002060"/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4788024" y="2204864"/>
            <a:ext cx="34628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err="1" smtClean="0">
                <a:solidFill>
                  <a:srgbClr val="002060"/>
                </a:solidFill>
              </a:rPr>
              <a:t>Bio</a:t>
            </a:r>
            <a:r>
              <a:rPr lang="hu-HU" dirty="0" smtClean="0">
                <a:solidFill>
                  <a:srgbClr val="002060"/>
                </a:solidFill>
              </a:rPr>
              <a:t>, szemét, geo, szél, nap</a:t>
            </a:r>
            <a:endParaRPr lang="hu-HU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30</a:t>
            </a:fld>
            <a:endParaRPr lang="hu-HU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0" y="332656"/>
            <a:ext cx="9144000" cy="108012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Áram-termelési költségek, €/</a:t>
            </a:r>
            <a:r>
              <a:rPr kumimoji="0" lang="hu-HU" sz="4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Wh</a:t>
            </a:r>
            <a:r>
              <a:rPr kumimoji="0" lang="hu-HU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hu-HU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datforrás: </a:t>
            </a:r>
            <a:r>
              <a:rPr kumimoji="0" lang="hu-HU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raunhofer</a:t>
            </a:r>
            <a:r>
              <a:rPr kumimoji="0" lang="hu-HU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ISE 2013</a:t>
            </a:r>
            <a:endParaRPr kumimoji="0" lang="hu-HU" sz="4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aphicFrame>
        <p:nvGraphicFramePr>
          <p:cNvPr id="5" name="Táblázat 4"/>
          <p:cNvGraphicFramePr>
            <a:graphicFrameLocks noGrp="1"/>
          </p:cNvGraphicFramePr>
          <p:nvPr/>
        </p:nvGraphicFramePr>
        <p:xfrm>
          <a:off x="755576" y="1407011"/>
          <a:ext cx="7776864" cy="5290566"/>
        </p:xfrm>
        <a:graphic>
          <a:graphicData uri="http://schemas.openxmlformats.org/drawingml/2006/table">
            <a:tbl>
              <a:tblPr/>
              <a:tblGrid>
                <a:gridCol w="4544920"/>
                <a:gridCol w="3130945"/>
                <a:gridCol w="100999"/>
              </a:tblGrid>
              <a:tr h="206070">
                <a:tc row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b="1" dirty="0" smtClean="0">
                          <a:solidFill>
                            <a:srgbClr val="FF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Energiahordozó</a:t>
                      </a:r>
                      <a:endParaRPr lang="hu-HU" sz="2800" dirty="0">
                        <a:solidFill>
                          <a:srgbClr val="FF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hu-H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495901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€/</a:t>
                      </a:r>
                      <a:r>
                        <a:rPr lang="hu-HU" sz="2800" b="1" kern="1200" dirty="0" err="1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MWh</a:t>
                      </a:r>
                      <a:endParaRPr lang="hu-HU" sz="2800" b="1" dirty="0">
                        <a:solidFill>
                          <a:srgbClr val="FF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959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Barnaszén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38–53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959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Kőszén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63–80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959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 smtClean="0">
                          <a:latin typeface="Times New Roman"/>
                          <a:ea typeface="Times New Roman"/>
                          <a:cs typeface="Times New Roman"/>
                        </a:rPr>
                        <a:t>Földgáz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75–98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959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Szél, </a:t>
                      </a:r>
                      <a:r>
                        <a:rPr lang="hu-HU" sz="2800" dirty="0" smtClean="0">
                          <a:latin typeface="Times New Roman"/>
                          <a:ea typeface="Times New Roman"/>
                          <a:cs typeface="Times New Roman"/>
                        </a:rPr>
                        <a:t>szárazföldi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45–107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959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Szél, </a:t>
                      </a:r>
                      <a:r>
                        <a:rPr lang="hu-HU" sz="2800" dirty="0" smtClean="0">
                          <a:latin typeface="Times New Roman"/>
                          <a:ea typeface="Times New Roman"/>
                          <a:cs typeface="Times New Roman"/>
                        </a:rPr>
                        <a:t>tengeri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119–194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959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Biomassza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135–215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959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Fotovoltaikus</a:t>
                      </a: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, </a:t>
                      </a:r>
                      <a:r>
                        <a:rPr lang="hu-HU" sz="2800" dirty="0" smtClean="0">
                          <a:latin typeface="Times New Roman"/>
                          <a:ea typeface="Times New Roman"/>
                          <a:cs typeface="Times New Roman"/>
                        </a:rPr>
                        <a:t> kicsi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latin typeface="Times New Roman"/>
                          <a:ea typeface="Times New Roman"/>
                          <a:cs typeface="Times New Roman"/>
                        </a:rPr>
                        <a:t>98–142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7327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Fotovoltaikus</a:t>
                      </a:r>
                      <a:r>
                        <a:rPr lang="hu-HU" sz="2800" dirty="0" smtClean="0">
                          <a:latin typeface="Times New Roman"/>
                          <a:ea typeface="Times New Roman"/>
                          <a:cs typeface="Times New Roman"/>
                        </a:rPr>
                        <a:t>,</a:t>
                      </a:r>
                      <a:r>
                        <a:rPr lang="hu-HU" sz="28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nagy</a:t>
                      </a:r>
                      <a:r>
                        <a:rPr lang="hu-HU" sz="280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b="1" dirty="0" smtClean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Paks*</a:t>
                      </a:r>
                      <a:endParaRPr lang="hu-HU" sz="2800" b="1" dirty="0">
                        <a:solidFill>
                          <a:srgbClr val="FF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 smtClean="0">
                          <a:latin typeface="Times New Roman"/>
                          <a:ea typeface="Times New Roman"/>
                          <a:cs typeface="Times New Roman"/>
                        </a:rPr>
                        <a:t>79–116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b="1" dirty="0" smtClean="0">
                          <a:solidFill>
                            <a:srgbClr val="FF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2</a:t>
                      </a:r>
                      <a:endParaRPr lang="hu-HU" sz="2800" b="1" dirty="0">
                        <a:solidFill>
                          <a:srgbClr val="FF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1475656" y="6396335"/>
            <a:ext cx="35740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*A szerző számítása szerint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700808"/>
          </a:xfrm>
        </p:spPr>
        <p:txBody>
          <a:bodyPr>
            <a:normAutofit fontScale="90000"/>
          </a:bodyPr>
          <a:lstStyle/>
          <a:p>
            <a:r>
              <a:rPr lang="en-US" sz="3600" dirty="0" err="1" smtClean="0"/>
              <a:t>Német</a:t>
            </a:r>
            <a:r>
              <a:rPr lang="en-US" sz="3600" dirty="0" smtClean="0"/>
              <a:t> </a:t>
            </a:r>
            <a:r>
              <a:rPr lang="en-US" sz="3600" dirty="0" err="1" smtClean="0"/>
              <a:t>Áram</a:t>
            </a:r>
            <a:r>
              <a:rPr lang="en-US" sz="3600" dirty="0" smtClean="0"/>
              <a:t>-mix, 2014</a:t>
            </a:r>
            <a:r>
              <a:rPr lang="hu-HU" sz="3600" dirty="0" smtClean="0"/>
              <a:t>, %</a:t>
            </a:r>
            <a:r>
              <a:rPr lang="en-US" sz="3600" dirty="0" smtClean="0"/>
              <a:t> 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700" b="1" dirty="0" smtClean="0">
                <a:solidFill>
                  <a:srgbClr val="FF0000"/>
                </a:solidFill>
              </a:rPr>
              <a:t>A szél csupán 9,1 </a:t>
            </a:r>
            <a:r>
              <a:rPr lang="hu-HU" sz="2700" b="1" smtClean="0">
                <a:solidFill>
                  <a:srgbClr val="FF0000"/>
                </a:solidFill>
              </a:rPr>
              <a:t>(</a:t>
            </a:r>
            <a:r>
              <a:rPr lang="hu-HU" sz="2700" b="1" smtClean="0">
                <a:solidFill>
                  <a:srgbClr val="FF0000"/>
                </a:solidFill>
              </a:rPr>
              <a:t>offshore </a:t>
            </a:r>
            <a:r>
              <a:rPr lang="hu-HU" sz="2700" b="1" dirty="0" smtClean="0">
                <a:solidFill>
                  <a:srgbClr val="FF0000"/>
                </a:solidFill>
              </a:rPr>
              <a:t>0,2%),  a szolár PV 5,6%-ot termel.</a:t>
            </a:r>
            <a:br>
              <a:rPr lang="hu-HU" sz="2700" b="1" dirty="0" smtClean="0">
                <a:solidFill>
                  <a:srgbClr val="FF0000"/>
                </a:solidFill>
              </a:rPr>
            </a:br>
            <a:r>
              <a:rPr lang="hu-HU" sz="2700" b="1" dirty="0" smtClean="0">
                <a:solidFill>
                  <a:srgbClr val="FF0000"/>
                </a:solidFill>
              </a:rPr>
              <a:t>Dominál a fosszilis!</a:t>
            </a:r>
            <a:br>
              <a:rPr lang="hu-HU" sz="2700" b="1" dirty="0" smtClean="0">
                <a:solidFill>
                  <a:srgbClr val="FF0000"/>
                </a:solidFill>
              </a:rPr>
            </a:br>
            <a:r>
              <a:rPr lang="hu-HU" sz="3100" b="1" u="sng" dirty="0" smtClean="0">
                <a:solidFill>
                  <a:srgbClr val="FF0000"/>
                </a:solidFill>
              </a:rPr>
              <a:t>Milyenek a német megújuló energia adottságok?</a:t>
            </a:r>
            <a:endParaRPr lang="hu-HU" sz="3100" u="sng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31</a:t>
            </a:fld>
            <a:endParaRPr lang="hu-HU"/>
          </a:p>
        </p:txBody>
      </p:sp>
      <p:graphicFrame>
        <p:nvGraphicFramePr>
          <p:cNvPr id="4" name="Diagram 3"/>
          <p:cNvGraphicFramePr/>
          <p:nvPr/>
        </p:nvGraphicFramePr>
        <p:xfrm>
          <a:off x="251520" y="1556792"/>
          <a:ext cx="8640960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zövegdoboz 4"/>
          <p:cNvSpPr txBox="1"/>
          <p:nvPr/>
        </p:nvSpPr>
        <p:spPr>
          <a:xfrm>
            <a:off x="251520" y="6396335"/>
            <a:ext cx="5721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(</a:t>
            </a:r>
            <a:r>
              <a:rPr lang="en-US" sz="2000" dirty="0" err="1" smtClean="0"/>
              <a:t>Forrás</a:t>
            </a:r>
            <a:r>
              <a:rPr lang="en-US" sz="2000" dirty="0" smtClean="0"/>
              <a:t> IEA Monthly Electricity Statistics, May 2015)</a:t>
            </a:r>
            <a:endParaRPr lang="hu-HU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32</a:t>
            </a:fld>
            <a:endParaRPr lang="hu-HU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0" y="0"/>
            <a:ext cx="9144000" cy="16288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elyik technológia adja legolcsóbban az áramot? 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Összesített áramtermelési költségek az Európai Unióban 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z IEA „Új politikák” szcenárió szerint, USD/</a:t>
            </a:r>
            <a:r>
              <a:rPr kumimoji="0" lang="hu-HU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Wh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, 2020.</a:t>
            </a:r>
            <a:endParaRPr kumimoji="0" lang="hu-HU" sz="2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5" name="Kép 4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28800"/>
            <a:ext cx="9143999" cy="36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zövegdoboz 5"/>
          <p:cNvSpPr txBox="1"/>
          <p:nvPr/>
        </p:nvSpPr>
        <p:spPr>
          <a:xfrm>
            <a:off x="0" y="5301209"/>
            <a:ext cx="92068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u="sng" dirty="0" smtClean="0">
                <a:solidFill>
                  <a:srgbClr val="FF0000"/>
                </a:solidFill>
              </a:rPr>
              <a:t>IEA: Életciklusra vetítve</a:t>
            </a:r>
            <a:r>
              <a:rPr lang="hu-HU" b="1" dirty="0" smtClean="0">
                <a:solidFill>
                  <a:srgbClr val="FF0000"/>
                </a:solidFill>
              </a:rPr>
              <a:t>, a </a:t>
            </a:r>
            <a:r>
              <a:rPr lang="hu-HU" b="1" u="sng" dirty="0" smtClean="0">
                <a:solidFill>
                  <a:srgbClr val="FF0000"/>
                </a:solidFill>
              </a:rPr>
              <a:t>nukleáris eredetű áram a legolcsóbb</a:t>
            </a:r>
            <a:r>
              <a:rPr lang="hu-HU" dirty="0" smtClean="0">
                <a:solidFill>
                  <a:srgbClr val="FF0000"/>
                </a:solidFill>
              </a:rPr>
              <a:t>. </a:t>
            </a:r>
          </a:p>
          <a:p>
            <a:pPr algn="ctr"/>
            <a:r>
              <a:rPr lang="hu-HU" sz="2000" dirty="0" smtClean="0"/>
              <a:t>A megújulók többsége nem állítható elő piaci áron. Meg kell találni az együttélést</a:t>
            </a:r>
          </a:p>
          <a:p>
            <a:pPr algn="ctr"/>
            <a:r>
              <a:rPr lang="hu-HU" sz="2000" dirty="0" smtClean="0"/>
              <a:t> a fosszilis energiák és a megújulók között. Az EU gazdasági érdeke, hogy a megújulók </a:t>
            </a:r>
          </a:p>
          <a:p>
            <a:pPr algn="ctr"/>
            <a:r>
              <a:rPr lang="hu-HU" sz="2000" dirty="0" smtClean="0"/>
              <a:t>támogatását fokozatosan leépítse.</a:t>
            </a:r>
            <a:endParaRPr lang="hu-HU" sz="2000" dirty="0"/>
          </a:p>
        </p:txBody>
      </p:sp>
      <p:sp>
        <p:nvSpPr>
          <p:cNvPr id="7" name="Szövegdoboz 6"/>
          <p:cNvSpPr txBox="1"/>
          <p:nvPr/>
        </p:nvSpPr>
        <p:spPr>
          <a:xfrm>
            <a:off x="4788024" y="2204864"/>
            <a:ext cx="228780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hu-HU" sz="1800" dirty="0" smtClean="0">
                <a:solidFill>
                  <a:schemeClr val="accent6"/>
                </a:solidFill>
              </a:rPr>
              <a:t>CO2 költség</a:t>
            </a:r>
          </a:p>
          <a:p>
            <a:pPr algn="r"/>
            <a:r>
              <a:rPr lang="hu-HU" sz="1800" dirty="0" smtClean="0">
                <a:solidFill>
                  <a:schemeClr val="accent6"/>
                </a:solidFill>
              </a:rPr>
              <a:t>Működés, karbantartás</a:t>
            </a:r>
          </a:p>
          <a:p>
            <a:pPr algn="r"/>
            <a:r>
              <a:rPr lang="hu-HU" sz="1800" dirty="0" smtClean="0">
                <a:solidFill>
                  <a:schemeClr val="accent6"/>
                </a:solidFill>
              </a:rPr>
              <a:t>Tüzelőanyag </a:t>
            </a:r>
            <a:r>
              <a:rPr lang="hu-HU" sz="1800" dirty="0" err="1" smtClean="0">
                <a:solidFill>
                  <a:schemeClr val="accent6"/>
                </a:solidFill>
              </a:rPr>
              <a:t>kltsg</a:t>
            </a:r>
            <a:r>
              <a:rPr lang="hu-HU" sz="1800" dirty="0" smtClean="0">
                <a:solidFill>
                  <a:schemeClr val="accent6"/>
                </a:solidFill>
              </a:rPr>
              <a:t>.</a:t>
            </a:r>
          </a:p>
          <a:p>
            <a:pPr algn="r"/>
            <a:r>
              <a:rPr lang="hu-HU" sz="1800" dirty="0" smtClean="0">
                <a:solidFill>
                  <a:schemeClr val="accent6"/>
                </a:solidFill>
              </a:rPr>
              <a:t>Beruházási </a:t>
            </a:r>
            <a:r>
              <a:rPr lang="hu-HU" sz="1800" dirty="0" err="1" smtClean="0">
                <a:solidFill>
                  <a:schemeClr val="accent6"/>
                </a:solidFill>
              </a:rPr>
              <a:t>kltsg</a:t>
            </a:r>
            <a:r>
              <a:rPr lang="hu-HU" sz="1800" dirty="0" smtClean="0">
                <a:solidFill>
                  <a:schemeClr val="accent6"/>
                </a:solidFill>
              </a:rPr>
              <a:t>.</a:t>
            </a:r>
            <a:endParaRPr lang="hu-HU" sz="1800" dirty="0">
              <a:solidFill>
                <a:schemeClr val="accent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33</a:t>
            </a:fld>
            <a:endParaRPr lang="hu-HU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152400" y="152400"/>
            <a:ext cx="9144000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1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Liberalizált energiapiac </a:t>
            </a:r>
            <a:br>
              <a:rPr kumimoji="0" lang="hu-HU" sz="3200" b="1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3200" b="1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versus megújulók kötelező átvétele</a:t>
            </a:r>
            <a:endParaRPr kumimoji="0" lang="hu-HU" sz="32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artalom helye 2"/>
          <p:cNvSpPr txBox="1">
            <a:spLocks/>
          </p:cNvSpPr>
          <p:nvPr/>
        </p:nvSpPr>
        <p:spPr>
          <a:xfrm>
            <a:off x="0" y="1205136"/>
            <a:ext cx="9144000" cy="5805264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z Unió egyik fő célkitűzése a teljesen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iberalizált nemzetközi energiapiacok megteremtése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ahol 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termelők (erőművek illetve a gázforrások) versenyeznek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gymással, és ahol 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piacon a jobb, olcsóbb termelő legyőzi a drágábban termelőt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Ennek </a:t>
            </a:r>
            <a:r>
              <a:rPr kumimoji="0" lang="hu-H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z idealizált víziónak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 </a:t>
            </a:r>
            <a:r>
              <a:rPr kumimoji="0" lang="hu-HU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alizációját akadályozza a </a:t>
            </a:r>
            <a:r>
              <a:rPr kumimoji="0" lang="hu-HU" sz="2400" b="0" i="1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tárkeresztező kapacitások </a:t>
            </a:r>
            <a:r>
              <a:rPr kumimoji="0" lang="hu-HU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orlátozott megléte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valamint </a:t>
            </a:r>
            <a:r>
              <a:rPr kumimoji="0" lang="hu-HU" sz="2400" b="0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</a:t>
            </a:r>
            <a:r>
              <a:rPr kumimoji="0" lang="hu-HU" sz="2400" b="0" i="1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mzeti gazdaságpolitikák </a:t>
            </a:r>
            <a:r>
              <a:rPr kumimoji="0" lang="hu-HU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zon törekvése, hogy különféle eszközökkel</a:t>
            </a:r>
            <a:r>
              <a:rPr kumimoji="0" lang="hu-HU" sz="2400" b="0" i="1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megvédjék a „nemzeti bajnokot”</a:t>
            </a:r>
            <a:r>
              <a:rPr kumimoji="0" lang="hu-HU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vábbi </a:t>
            </a:r>
            <a:r>
              <a:rPr kumimoji="0" lang="hu-HU" sz="2400" b="0" i="1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rsenykorlátozó eszköz 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. 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</a:t>
            </a:r>
            <a:r>
              <a:rPr kumimoji="0" lang="hu-HU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tárkeresztező tranzithálózatok kapacitásainak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oglalása, </a:t>
            </a:r>
            <a:r>
              <a:rPr kumimoji="0" lang="hu-HU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rendszerhasználati díjak extrém magas szintre emelése és a német atomerőművek leállítása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zt a 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orlátozott versenyt gyengítette-torzította a megújuló energiák kötelező átvétele, méghozzá emelt áron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A </a:t>
            </a:r>
            <a:r>
              <a:rPr kumimoji="0" lang="hu-H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ágán termelt szél- vagy szolár-bázisú áram így kiszoríthatta a jóval olcsóbb nukleáris, földgáz- vagy szén-bázisú áramot</a:t>
            </a:r>
            <a:r>
              <a:rPr kumimoji="0" lang="hu-HU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endParaRPr kumimoji="0" lang="hu-HU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Dia számának helye 3"/>
          <p:cNvSpPr txBox="1">
            <a:spLocks/>
          </p:cNvSpPr>
          <p:nvPr/>
        </p:nvSpPr>
        <p:spPr bwMode="auto">
          <a:xfrm>
            <a:off x="6705600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35C73D-A53E-4597-A98C-B715794DC14D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609600"/>
            <a:ext cx="9144000" cy="5411688"/>
          </a:xfrm>
        </p:spPr>
        <p:txBody>
          <a:bodyPr/>
          <a:lstStyle/>
          <a:p>
            <a:r>
              <a:rPr lang="hu-HU" dirty="0" smtClean="0">
                <a:solidFill>
                  <a:srgbClr val="FF0000"/>
                </a:solidFill>
              </a:rPr>
              <a:t>Régiónk helyzete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/>
              <a:t>Cseh, lengyel, szlovák áram-mix</a:t>
            </a:r>
            <a:br>
              <a:rPr lang="hu-HU" dirty="0" smtClean="0"/>
            </a:b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/>
              <a:t>Az import kérdése: honnan tudunk importálni? (cseh, lengyel, ukrán)</a:t>
            </a:r>
            <a:br>
              <a:rPr lang="hu-HU" dirty="0" smtClean="0"/>
            </a:br>
            <a:r>
              <a:rPr lang="hu-HU" dirty="0" smtClean="0"/>
              <a:t>Hová tudunk exportálni?</a:t>
            </a:r>
            <a:br>
              <a:rPr lang="hu-HU" dirty="0" smtClean="0"/>
            </a:br>
            <a:r>
              <a:rPr lang="hu-HU" dirty="0" smtClean="0"/>
              <a:t>Hol épül még atomerőmű</a:t>
            </a: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34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35</a:t>
            </a:fld>
            <a:endParaRPr lang="hu-HU"/>
          </a:p>
        </p:txBody>
      </p:sp>
      <p:sp>
        <p:nvSpPr>
          <p:cNvPr id="3" name="Cím 1"/>
          <p:cNvSpPr txBox="1">
            <a:spLocks/>
          </p:cNvSpPr>
          <p:nvPr/>
        </p:nvSpPr>
        <p:spPr>
          <a:xfrm>
            <a:off x="0" y="0"/>
            <a:ext cx="9144000" cy="1124744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0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azdasági és energetikai adatok  </a:t>
            </a:r>
            <a:br>
              <a:rPr kumimoji="0" lang="hu-HU" sz="3200" b="0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3200" b="0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Közép-Európában, 2013 </a:t>
            </a:r>
            <a:endParaRPr kumimoji="0" lang="hu-HU" sz="32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aphicFrame>
        <p:nvGraphicFramePr>
          <p:cNvPr id="5" name="Táblázat 4"/>
          <p:cNvGraphicFramePr>
            <a:graphicFrameLocks noGrp="1"/>
          </p:cNvGraphicFramePr>
          <p:nvPr/>
        </p:nvGraphicFramePr>
        <p:xfrm>
          <a:off x="251520" y="1268760"/>
          <a:ext cx="8568951" cy="3925824"/>
        </p:xfrm>
        <a:graphic>
          <a:graphicData uri="http://schemas.openxmlformats.org/drawingml/2006/table">
            <a:tbl>
              <a:tblPr/>
              <a:tblGrid>
                <a:gridCol w="2905992"/>
                <a:gridCol w="2998664"/>
                <a:gridCol w="2664295"/>
              </a:tblGrid>
              <a:tr h="4500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GDP/fő</a:t>
                      </a:r>
                      <a:endParaRPr lang="hu-HU" sz="2800" dirty="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 err="1" smtClean="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Vill.energia</a:t>
                      </a:r>
                      <a:r>
                        <a:rPr lang="hu-HU" sz="2800" dirty="0" smtClean="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/fő</a:t>
                      </a:r>
                      <a:endParaRPr lang="hu-HU" sz="2800" dirty="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500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  <a:endParaRPr lang="hu-H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USD/fő</a:t>
                      </a:r>
                      <a:endParaRPr lang="hu-HU" sz="280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kWh/fő</a:t>
                      </a:r>
                      <a:endParaRPr lang="hu-HU" sz="2800" dirty="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0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Ausztria</a:t>
                      </a:r>
                      <a:endParaRPr lang="hu-HU" sz="280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chemeClr val="accent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40 200</a:t>
                      </a:r>
                      <a:endParaRPr lang="hu-HU" sz="2800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chemeClr val="accent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510</a:t>
                      </a:r>
                      <a:endParaRPr lang="hu-HU" sz="2800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500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Csehország</a:t>
                      </a:r>
                      <a:endParaRPr lang="hu-HU" sz="280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 300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6 310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500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 smtClean="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Magyarország</a:t>
                      </a:r>
                      <a:endParaRPr lang="hu-HU" sz="2800" dirty="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1 000</a:t>
                      </a:r>
                      <a:endParaRPr lang="hu-HU" sz="2800" dirty="0">
                        <a:solidFill>
                          <a:srgbClr val="FF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FF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 920</a:t>
                      </a:r>
                      <a:endParaRPr lang="hu-HU" sz="2800" dirty="0">
                        <a:solidFill>
                          <a:srgbClr val="FF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500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 smtClean="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Lengyelország</a:t>
                      </a:r>
                      <a:endParaRPr lang="hu-HU" sz="2800" dirty="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 600</a:t>
                      </a:r>
                      <a:endParaRPr lang="hu-H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 850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500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Románia</a:t>
                      </a:r>
                      <a:endParaRPr lang="hu-HU" sz="280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 820</a:t>
                      </a:r>
                      <a:endParaRPr lang="hu-H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 600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500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chemeClr val="accent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Szlovákia</a:t>
                      </a:r>
                      <a:endParaRPr lang="hu-HU" sz="2800" dirty="0">
                        <a:solidFill>
                          <a:schemeClr val="accent6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1 700</a:t>
                      </a:r>
                      <a:endParaRPr lang="hu-H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 140</a:t>
                      </a:r>
                      <a:endParaRPr lang="hu-H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251758" y="5165229"/>
            <a:ext cx="8892242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/>
              <a:t>Ausztriában a </a:t>
            </a:r>
            <a:r>
              <a:rPr lang="hu-HU" dirty="0" smtClean="0">
                <a:solidFill>
                  <a:schemeClr val="accent6"/>
                </a:solidFill>
              </a:rPr>
              <a:t>GDP/fő érték 3-4-szer nagyobb</a:t>
            </a:r>
            <a:r>
              <a:rPr lang="hu-HU" dirty="0" smtClean="0"/>
              <a:t>, mint a V4-eknél. </a:t>
            </a:r>
          </a:p>
          <a:p>
            <a:pPr algn="ctr"/>
            <a:r>
              <a:rPr lang="hu-HU" dirty="0" smtClean="0"/>
              <a:t>Az osztrák </a:t>
            </a:r>
            <a:r>
              <a:rPr lang="hu-HU" dirty="0" err="1" smtClean="0">
                <a:solidFill>
                  <a:schemeClr val="accent6"/>
                </a:solidFill>
              </a:rPr>
              <a:t>villamosenergia</a:t>
            </a:r>
            <a:r>
              <a:rPr lang="hu-HU" dirty="0" smtClean="0">
                <a:solidFill>
                  <a:schemeClr val="accent6"/>
                </a:solidFill>
              </a:rPr>
              <a:t> fogyasztás 1,5-2-szer magasabb </a:t>
            </a:r>
            <a:r>
              <a:rPr lang="hu-HU" dirty="0" smtClean="0"/>
              <a:t>a V4-énél.</a:t>
            </a:r>
          </a:p>
          <a:p>
            <a:pPr algn="ctr"/>
            <a:r>
              <a:rPr lang="hu-HU" sz="2800" dirty="0" smtClean="0">
                <a:solidFill>
                  <a:srgbClr val="FF0000"/>
                </a:solidFill>
              </a:rPr>
              <a:t>A közép-európai régióban 2-3%-os GDP és </a:t>
            </a:r>
          </a:p>
          <a:p>
            <a:pPr algn="ctr"/>
            <a:r>
              <a:rPr lang="hu-HU" sz="2800" b="1" dirty="0" smtClean="0">
                <a:solidFill>
                  <a:srgbClr val="FF0000"/>
                </a:solidFill>
              </a:rPr>
              <a:t>1-2%-os </a:t>
            </a:r>
            <a:r>
              <a:rPr lang="hu-HU" sz="2800" b="1" dirty="0" err="1" smtClean="0">
                <a:solidFill>
                  <a:srgbClr val="FF0000"/>
                </a:solidFill>
              </a:rPr>
              <a:t>villamosenergia</a:t>
            </a:r>
            <a:r>
              <a:rPr lang="hu-HU" sz="2800" b="1" dirty="0" smtClean="0">
                <a:solidFill>
                  <a:srgbClr val="FF0000"/>
                </a:solidFill>
              </a:rPr>
              <a:t> fogyasztás növekedés várható</a:t>
            </a:r>
            <a:r>
              <a:rPr lang="hu-HU" sz="2800" dirty="0" smtClean="0">
                <a:solidFill>
                  <a:srgbClr val="FF0000"/>
                </a:solidFill>
              </a:rPr>
              <a:t>.</a:t>
            </a:r>
            <a:endParaRPr lang="hu-HU" sz="28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36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4" name="Cím 1"/>
          <p:cNvSpPr txBox="1">
            <a:spLocks/>
          </p:cNvSpPr>
          <p:nvPr/>
        </p:nvSpPr>
        <p:spPr>
          <a:xfrm>
            <a:off x="0" y="0"/>
            <a:ext cx="9144000" cy="1484784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 GDP alakulása a V4-eknél, 2008-2014 között</a:t>
            </a:r>
            <a: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hu-HU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agyarország 2014 végén még a 2008-as szint alatt áll,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e most 3%-os növekedési pályán áll</a:t>
            </a:r>
            <a:endParaRPr kumimoji="0" lang="hu-HU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Dia számának helye 3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35C73D-A53E-4597-A98C-B715794DC14D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53380"/>
            <a:ext cx="9144000" cy="5204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zövegdoboz 6"/>
          <p:cNvSpPr txBox="1"/>
          <p:nvPr/>
        </p:nvSpPr>
        <p:spPr>
          <a:xfrm>
            <a:off x="6084168" y="2708920"/>
            <a:ext cx="5437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PL</a:t>
            </a:r>
            <a:endParaRPr lang="hu-HU" dirty="0"/>
          </a:p>
        </p:txBody>
      </p:sp>
      <p:sp>
        <p:nvSpPr>
          <p:cNvPr id="8" name="Szövegdoboz 7"/>
          <p:cNvSpPr txBox="1"/>
          <p:nvPr/>
        </p:nvSpPr>
        <p:spPr>
          <a:xfrm>
            <a:off x="6300192" y="3645024"/>
            <a:ext cx="5790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SK</a:t>
            </a:r>
            <a:endParaRPr lang="hu-HU" dirty="0"/>
          </a:p>
        </p:txBody>
      </p:sp>
      <p:sp>
        <p:nvSpPr>
          <p:cNvPr id="9" name="Szövegdoboz 8"/>
          <p:cNvSpPr txBox="1"/>
          <p:nvPr/>
        </p:nvSpPr>
        <p:spPr>
          <a:xfrm>
            <a:off x="7740352" y="4221088"/>
            <a:ext cx="5774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CZ</a:t>
            </a:r>
            <a:endParaRPr lang="hu-HU" dirty="0"/>
          </a:p>
        </p:txBody>
      </p:sp>
      <p:sp>
        <p:nvSpPr>
          <p:cNvPr id="10" name="Szövegdoboz 9"/>
          <p:cNvSpPr txBox="1"/>
          <p:nvPr/>
        </p:nvSpPr>
        <p:spPr>
          <a:xfrm>
            <a:off x="4572000" y="5013176"/>
            <a:ext cx="6303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HU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760"/>
          </a:xfrm>
        </p:spPr>
        <p:txBody>
          <a:bodyPr/>
          <a:lstStyle/>
          <a:p>
            <a:r>
              <a:rPr lang="hu-HU" dirty="0" smtClean="0"/>
              <a:t>A cseh és lengyel energia-mix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800" dirty="0" smtClean="0"/>
              <a:t>2013, 2014 és 2015, január, </a:t>
            </a:r>
            <a:r>
              <a:rPr lang="hu-HU" sz="2800" dirty="0" err="1" smtClean="0"/>
              <a:t>GWh</a:t>
            </a:r>
            <a:endParaRPr lang="hu-HU" sz="28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37</a:t>
            </a:fld>
            <a:endParaRPr lang="hu-HU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268760"/>
            <a:ext cx="4499992" cy="341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1268760"/>
            <a:ext cx="4572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églalap 6"/>
          <p:cNvSpPr/>
          <p:nvPr/>
        </p:nvSpPr>
        <p:spPr>
          <a:xfrm>
            <a:off x="1691680" y="1268760"/>
            <a:ext cx="28083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dirty="0" smtClean="0">
                <a:solidFill>
                  <a:schemeClr val="accent2"/>
                </a:solidFill>
              </a:rPr>
              <a:t>Cseh-mix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</a:rPr>
              <a:t>A fosszilis energia és az atom dominál</a:t>
            </a:r>
          </a:p>
        </p:txBody>
      </p:sp>
      <p:sp>
        <p:nvSpPr>
          <p:cNvPr id="8" name="Téglalap 7"/>
          <p:cNvSpPr/>
          <p:nvPr/>
        </p:nvSpPr>
        <p:spPr>
          <a:xfrm>
            <a:off x="6228184" y="1340768"/>
            <a:ext cx="291581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dirty="0" smtClean="0">
                <a:solidFill>
                  <a:schemeClr val="accent2"/>
                </a:solidFill>
              </a:rPr>
              <a:t>Lengyel-mix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</a:rPr>
              <a:t>Az éghető 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</a:rPr>
              <a:t>tüzelőanyagok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</a:rPr>
              <a:t>dominálnak.</a:t>
            </a:r>
          </a:p>
        </p:txBody>
      </p:sp>
      <p:sp>
        <p:nvSpPr>
          <p:cNvPr id="13" name="Szövegdoboz 12"/>
          <p:cNvSpPr txBox="1"/>
          <p:nvPr/>
        </p:nvSpPr>
        <p:spPr>
          <a:xfrm>
            <a:off x="395536" y="4725144"/>
            <a:ext cx="849694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/>
              <a:t>2014-ben</a:t>
            </a:r>
          </a:p>
          <a:p>
            <a:r>
              <a:rPr lang="hu-HU" dirty="0" smtClean="0"/>
              <a:t>   </a:t>
            </a:r>
            <a:r>
              <a:rPr lang="hu-HU" dirty="0" smtClean="0">
                <a:solidFill>
                  <a:srgbClr val="FF0000"/>
                </a:solidFill>
              </a:rPr>
              <a:t>Csehország nagy exportőr</a:t>
            </a:r>
            <a:r>
              <a:rPr lang="hu-HU" dirty="0" smtClean="0"/>
              <a:t>,              </a:t>
            </a:r>
            <a:r>
              <a:rPr lang="hu-HU" dirty="0" smtClean="0">
                <a:solidFill>
                  <a:srgbClr val="FF0000"/>
                </a:solidFill>
              </a:rPr>
              <a:t>Lengyelország importőr,</a:t>
            </a:r>
          </a:p>
          <a:p>
            <a:r>
              <a:rPr lang="hu-HU" dirty="0" smtClean="0"/>
              <a:t>   az export-szaldó 17TWh                   az import-szaldó 2TWh</a:t>
            </a:r>
          </a:p>
          <a:p>
            <a:r>
              <a:rPr lang="hu-HU" dirty="0" smtClean="0"/>
              <a:t>				     de </a:t>
            </a:r>
            <a:r>
              <a:rPr lang="hu-HU" dirty="0" err="1" smtClean="0"/>
              <a:t>Lengyelo</a:t>
            </a:r>
            <a:r>
              <a:rPr lang="hu-HU" dirty="0" smtClean="0"/>
              <a:t>. 11TWh-t exportál is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</a:rPr>
              <a:t>Szlovákia importőr</a:t>
            </a:r>
            <a:r>
              <a:rPr lang="hu-HU" dirty="0" smtClean="0"/>
              <a:t>, az import-szaldó 1TWh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611560" y="4509120"/>
            <a:ext cx="4085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800" dirty="0" smtClean="0"/>
              <a:t>Éghető       Atom       Víz    Geo, szél, nap</a:t>
            </a:r>
            <a:endParaRPr lang="hu-HU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628800"/>
          </a:xfrm>
        </p:spPr>
        <p:txBody>
          <a:bodyPr/>
          <a:lstStyle/>
          <a:p>
            <a:r>
              <a:rPr lang="hu-HU" dirty="0" err="1" smtClean="0"/>
              <a:t>Szomszédaink</a:t>
            </a:r>
            <a:r>
              <a:rPr lang="hu-HU" dirty="0" smtClean="0"/>
              <a:t> export lehetőségei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700808"/>
            <a:ext cx="9144000" cy="5157192"/>
          </a:xfrm>
        </p:spPr>
        <p:txBody>
          <a:bodyPr/>
          <a:lstStyle/>
          <a:p>
            <a:r>
              <a:rPr lang="hu-HU" dirty="0" smtClean="0"/>
              <a:t>A jövőben az EU CO</a:t>
            </a:r>
            <a:r>
              <a:rPr lang="hu-HU" baseline="-25000" dirty="0" smtClean="0"/>
              <a:t>2</a:t>
            </a:r>
            <a:r>
              <a:rPr lang="hu-HU" dirty="0" smtClean="0"/>
              <a:t> csökkentési célkitűzése miatt a </a:t>
            </a:r>
            <a:r>
              <a:rPr lang="hu-HU" dirty="0" smtClean="0">
                <a:solidFill>
                  <a:srgbClr val="FF0000"/>
                </a:solidFill>
              </a:rPr>
              <a:t>jelentős szénfelhasználó Lengyelország és Csehország export lehetőségei beszűkülnek</a:t>
            </a:r>
            <a:r>
              <a:rPr lang="hu-HU" dirty="0" smtClean="0"/>
              <a:t>;</a:t>
            </a:r>
          </a:p>
          <a:p>
            <a:r>
              <a:rPr lang="hu-HU" dirty="0" smtClean="0"/>
              <a:t>Kérdés, hogy a bizonytalan helyzetű </a:t>
            </a:r>
            <a:r>
              <a:rPr lang="hu-HU" dirty="0" smtClean="0">
                <a:solidFill>
                  <a:srgbClr val="FF0000"/>
                </a:solidFill>
              </a:rPr>
              <a:t>Ukrajna meddig tud még exportálni</a:t>
            </a:r>
            <a:r>
              <a:rPr lang="hu-HU" dirty="0" smtClean="0"/>
              <a:t>;</a:t>
            </a:r>
          </a:p>
          <a:p>
            <a:r>
              <a:rPr lang="hu-HU" dirty="0" smtClean="0"/>
              <a:t>A </a:t>
            </a:r>
            <a:r>
              <a:rPr lang="hu-HU" dirty="0" smtClean="0">
                <a:solidFill>
                  <a:srgbClr val="FF0000"/>
                </a:solidFill>
              </a:rPr>
              <a:t>szénbázisú, olcsó áramtermelés a következő évtizedben </a:t>
            </a:r>
            <a:r>
              <a:rPr lang="hu-HU" dirty="0" smtClean="0"/>
              <a:t>nagy valószínűséggel </a:t>
            </a:r>
            <a:r>
              <a:rPr lang="hu-HU" dirty="0" smtClean="0">
                <a:solidFill>
                  <a:srgbClr val="FF0000"/>
                </a:solidFill>
              </a:rPr>
              <a:t>csökkenni fog, így az erre épülő export is.</a:t>
            </a:r>
            <a:endParaRPr lang="hu-HU" dirty="0">
              <a:solidFill>
                <a:srgbClr val="FF0000"/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35C73D-A53E-4597-A98C-B715794DC14D}" type="slidenum">
              <a:rPr lang="hu-HU" smtClean="0"/>
              <a:pPr>
                <a:defRPr/>
              </a:pPr>
              <a:t>38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39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4" name="Dia számának helye 1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954CD80-321E-4943-8244-6E94759699C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>
          <a:xfrm>
            <a:off x="7261226" y="6453188"/>
            <a:ext cx="1860752" cy="252412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76D908-6D6C-4915-928D-61C992D4926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39700" y="136525"/>
            <a:ext cx="8824788" cy="10239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Éves zsinór</a:t>
            </a:r>
            <a:r>
              <a:rPr kumimoji="0" lang="en-US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kumimoji="0" lang="hu-HU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energiaár változása</a:t>
            </a:r>
            <a:r>
              <a:rPr kumimoji="0" lang="en-US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20</a:t>
            </a:r>
            <a:r>
              <a:rPr kumimoji="0" lang="hu-HU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12–16-re az </a:t>
            </a:r>
            <a:r>
              <a:rPr kumimoji="0" lang="en-US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EEX</a:t>
            </a:r>
            <a:r>
              <a:rPr kumimoji="0" lang="hu-HU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–en és</a:t>
            </a:r>
            <a:r>
              <a:rPr kumimoji="0" lang="en-US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kumimoji="0" lang="hu-HU" altLang="hu-HU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a</a:t>
            </a:r>
            <a:r>
              <a:rPr kumimoji="0" lang="en-US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kumimoji="0" lang="hu-HU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lengyel</a:t>
            </a:r>
            <a:r>
              <a:rPr kumimoji="0" lang="en-US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, </a:t>
            </a:r>
            <a:r>
              <a:rPr kumimoji="0" lang="hu-HU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cseh és magyar piacon</a:t>
            </a:r>
            <a:r>
              <a:rPr kumimoji="0" lang="en-US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kumimoji="0" lang="hu-HU" altLang="hu-H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2011-15-ben</a:t>
            </a:r>
            <a:endParaRPr kumimoji="0" lang="en-US" altLang="hu-HU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pic>
        <p:nvPicPr>
          <p:cNvPr id="7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162050"/>
            <a:ext cx="9144000" cy="5695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8" name="Szövegdoboz 7"/>
          <p:cNvSpPr txBox="1"/>
          <p:nvPr/>
        </p:nvSpPr>
        <p:spPr>
          <a:xfrm>
            <a:off x="1043608" y="4581128"/>
            <a:ext cx="33259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A magyar ár a régiós árak</a:t>
            </a:r>
          </a:p>
          <a:p>
            <a:pPr algn="ctr"/>
            <a:r>
              <a:rPr lang="hu-HU" sz="2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felett van</a:t>
            </a:r>
            <a:endParaRPr lang="hu-HU" sz="24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340768"/>
          </a:xfrm>
        </p:spPr>
        <p:txBody>
          <a:bodyPr/>
          <a:lstStyle/>
          <a:p>
            <a:r>
              <a:rPr lang="hu-HU" dirty="0" smtClean="0"/>
              <a:t>A magyar energia-mix, 2012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400" dirty="0" smtClean="0">
                <a:solidFill>
                  <a:srgbClr val="FF0000"/>
                </a:solidFill>
              </a:rPr>
              <a:t>A teljes fogyasztás 23,5 </a:t>
            </a:r>
            <a:r>
              <a:rPr lang="hu-HU" sz="2400" dirty="0" err="1" smtClean="0">
                <a:solidFill>
                  <a:srgbClr val="FF0000"/>
                </a:solidFill>
              </a:rPr>
              <a:t>Mtoe</a:t>
            </a:r>
            <a:endParaRPr lang="hu-HU" dirty="0">
              <a:solidFill>
                <a:srgbClr val="FF0000"/>
              </a:solidFill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4</a:t>
            </a:fld>
            <a:endParaRPr lang="hu-H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276350"/>
            <a:ext cx="9144000" cy="558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zövegdoboz 4"/>
          <p:cNvSpPr txBox="1"/>
          <p:nvPr/>
        </p:nvSpPr>
        <p:spPr>
          <a:xfrm>
            <a:off x="755576" y="5877272"/>
            <a:ext cx="50860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800" b="1" dirty="0" smtClean="0">
                <a:solidFill>
                  <a:srgbClr val="FF0000"/>
                </a:solidFill>
              </a:rPr>
              <a:t>A megújulók 8,1%-ot tesznek ki</a:t>
            </a:r>
            <a:endParaRPr lang="hu-HU" sz="2800" b="1" dirty="0">
              <a:solidFill>
                <a:srgbClr val="FF0000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4644008" y="4365104"/>
            <a:ext cx="7136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FFFF"/>
                </a:solidFill>
              </a:rPr>
              <a:t>Olaj</a:t>
            </a:r>
            <a:endParaRPr lang="hu-HU" dirty="0">
              <a:solidFill>
                <a:srgbClr val="FFFFFF"/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4067944" y="3356992"/>
            <a:ext cx="8851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002060"/>
                </a:solidFill>
              </a:rPr>
              <a:t>Atom</a:t>
            </a:r>
            <a:endParaRPr lang="hu-HU" dirty="0">
              <a:solidFill>
                <a:srgbClr val="002060"/>
              </a:solidFill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2267744" y="3861048"/>
            <a:ext cx="11753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002060"/>
                </a:solidFill>
              </a:rPr>
              <a:t>Földgáz</a:t>
            </a:r>
            <a:endParaRPr lang="hu-HU" dirty="0">
              <a:solidFill>
                <a:srgbClr val="002060"/>
              </a:solidFill>
            </a:endParaRPr>
          </a:p>
        </p:txBody>
      </p:sp>
      <p:sp>
        <p:nvSpPr>
          <p:cNvPr id="11" name="Szövegdoboz 10"/>
          <p:cNvSpPr txBox="1"/>
          <p:nvPr/>
        </p:nvSpPr>
        <p:spPr>
          <a:xfrm>
            <a:off x="6012160" y="3789040"/>
            <a:ext cx="7825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FFFF"/>
                </a:solidFill>
              </a:rPr>
              <a:t>Szén</a:t>
            </a:r>
            <a:endParaRPr lang="hu-HU" dirty="0">
              <a:solidFill>
                <a:srgbClr val="FFFFFF"/>
              </a:solidFill>
            </a:endParaRPr>
          </a:p>
        </p:txBody>
      </p:sp>
      <p:sp>
        <p:nvSpPr>
          <p:cNvPr id="12" name="Szövegdoboz 11"/>
          <p:cNvSpPr txBox="1"/>
          <p:nvPr/>
        </p:nvSpPr>
        <p:spPr>
          <a:xfrm>
            <a:off x="5652120" y="3429000"/>
            <a:ext cx="628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err="1" smtClean="0"/>
              <a:t>Bio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340768"/>
          </a:xfrm>
        </p:spPr>
        <p:txBody>
          <a:bodyPr/>
          <a:lstStyle/>
          <a:p>
            <a:r>
              <a:rPr lang="hu-HU" dirty="0" smtClean="0"/>
              <a:t>Nukleáris tervek a régióban</a:t>
            </a:r>
            <a:br>
              <a:rPr lang="hu-HU" dirty="0" smtClean="0"/>
            </a:br>
            <a:r>
              <a:rPr lang="hu-HU" sz="2800" b="1" dirty="0" err="1" smtClean="0">
                <a:solidFill>
                  <a:srgbClr val="FF0000"/>
                </a:solidFill>
              </a:rPr>
              <a:t>Szomszédaink</a:t>
            </a:r>
            <a:r>
              <a:rPr lang="hu-HU" sz="2800" b="1" dirty="0" smtClean="0">
                <a:solidFill>
                  <a:srgbClr val="FF0000"/>
                </a:solidFill>
              </a:rPr>
              <a:t> mindegyike tervez / épít atomerőművet</a:t>
            </a:r>
            <a:endParaRPr lang="hu-HU" sz="2800" b="1" dirty="0">
              <a:solidFill>
                <a:srgbClr val="FF0000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340768"/>
            <a:ext cx="9144000" cy="5517232"/>
          </a:xfrm>
        </p:spPr>
        <p:txBody>
          <a:bodyPr/>
          <a:lstStyle/>
          <a:p>
            <a:r>
              <a:rPr lang="hu-HU" sz="2800" dirty="0" smtClean="0">
                <a:solidFill>
                  <a:srgbClr val="FF0000"/>
                </a:solidFill>
              </a:rPr>
              <a:t>Cseh tervek</a:t>
            </a:r>
            <a:r>
              <a:rPr lang="hu-HU" sz="2800" dirty="0" smtClean="0"/>
              <a:t>: 2 új blokk építése (</a:t>
            </a:r>
            <a:r>
              <a:rPr lang="hu-HU" sz="2800" dirty="0" err="1" smtClean="0"/>
              <a:t>Temelin</a:t>
            </a:r>
            <a:r>
              <a:rPr lang="hu-HU" sz="2800" dirty="0" smtClean="0"/>
              <a:t>, folyamatban)</a:t>
            </a:r>
          </a:p>
          <a:p>
            <a:r>
              <a:rPr lang="hu-HU" sz="2800" dirty="0" smtClean="0">
                <a:solidFill>
                  <a:srgbClr val="FF0000"/>
                </a:solidFill>
              </a:rPr>
              <a:t>Szlovákia</a:t>
            </a:r>
            <a:r>
              <a:rPr lang="hu-HU" sz="2800" dirty="0" smtClean="0"/>
              <a:t>: Ha az MVM vagy a CEZ az olasz </a:t>
            </a:r>
            <a:r>
              <a:rPr lang="hu-HU" sz="2800" dirty="0" err="1" smtClean="0"/>
              <a:t>Eneltől</a:t>
            </a:r>
            <a:r>
              <a:rPr lang="hu-HU" sz="2800" dirty="0" smtClean="0"/>
              <a:t> megvásárolja a szlovák </a:t>
            </a:r>
            <a:r>
              <a:rPr lang="hu-HU" sz="2800" dirty="0" err="1" smtClean="0"/>
              <a:t>villamosművek</a:t>
            </a:r>
            <a:r>
              <a:rPr lang="hu-HU" sz="2800" dirty="0" smtClean="0"/>
              <a:t> (SE) többségi tulajdonrészét, akkor befejezi és üzemelteti az SE tulajdonát képező mohi (</a:t>
            </a:r>
            <a:r>
              <a:rPr lang="hu-HU" sz="2800" dirty="0" err="1" smtClean="0"/>
              <a:t>Mochovce</a:t>
            </a:r>
            <a:r>
              <a:rPr lang="hu-HU" sz="2800" dirty="0" smtClean="0"/>
              <a:t>) atomerőmű új blokkjait </a:t>
            </a:r>
          </a:p>
          <a:p>
            <a:r>
              <a:rPr lang="hu-HU" sz="2800" dirty="0" err="1" smtClean="0">
                <a:solidFill>
                  <a:srgbClr val="FF0000"/>
                </a:solidFill>
              </a:rPr>
              <a:t>Lengyelo</a:t>
            </a:r>
            <a:r>
              <a:rPr lang="hu-HU" sz="2800" dirty="0" smtClean="0">
                <a:solidFill>
                  <a:srgbClr val="FF0000"/>
                </a:solidFill>
              </a:rPr>
              <a:t>.</a:t>
            </a:r>
            <a:r>
              <a:rPr lang="hu-HU" sz="2800" dirty="0" smtClean="0"/>
              <a:t>: 2014 elején a lengyel kormány elfogadta azt az energetikai programot, melynek értelmében az első lengyel </a:t>
            </a:r>
            <a:r>
              <a:rPr lang="hu-HU" sz="2800" dirty="0" err="1" smtClean="0"/>
              <a:t>atomerőművi</a:t>
            </a:r>
            <a:r>
              <a:rPr lang="hu-HU" sz="2800" dirty="0" smtClean="0"/>
              <a:t> blokk 2024 végétől termelne. A kormányzat terve szerint a második blokk 2035-ben kezdené meg a termelést.</a:t>
            </a:r>
          </a:p>
          <a:p>
            <a:r>
              <a:rPr lang="hu-HU" sz="2800" dirty="0" smtClean="0">
                <a:solidFill>
                  <a:srgbClr val="FF0000"/>
                </a:solidFill>
              </a:rPr>
              <a:t>Románia</a:t>
            </a:r>
            <a:r>
              <a:rPr lang="hu-HU" sz="2800" dirty="0" smtClean="0"/>
              <a:t>: Kínaiak építik a két </a:t>
            </a:r>
            <a:r>
              <a:rPr lang="hu-HU" sz="2800" dirty="0" err="1" smtClean="0"/>
              <a:t>Candu</a:t>
            </a:r>
            <a:r>
              <a:rPr lang="hu-HU" sz="2800" dirty="0" smtClean="0"/>
              <a:t> típusú reaktort a romániai </a:t>
            </a:r>
            <a:r>
              <a:rPr lang="hu-HU" sz="2800" dirty="0" err="1" smtClean="0"/>
              <a:t>Cernavoda</a:t>
            </a:r>
            <a:r>
              <a:rPr lang="hu-HU" sz="2800" dirty="0" smtClean="0"/>
              <a:t> atomerőműben</a:t>
            </a:r>
            <a:endParaRPr lang="hu-HU" sz="28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35C73D-A53E-4597-A98C-B715794DC14D}" type="slidenum">
              <a:rPr lang="hu-HU" smtClean="0"/>
              <a:pPr>
                <a:defRPr/>
              </a:pPr>
              <a:t>40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41</a:t>
            </a:fld>
            <a:endParaRPr lang="hu-HU"/>
          </a:p>
        </p:txBody>
      </p:sp>
      <p:sp>
        <p:nvSpPr>
          <p:cNvPr id="3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4" name="Dia számának helye 1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4D47D8-5B4A-4B6B-8E60-D0414DE79E36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5" name="Cím 1"/>
          <p:cNvSpPr txBox="1">
            <a:spLocks/>
          </p:cNvSpPr>
          <p:nvPr/>
        </p:nvSpPr>
        <p:spPr>
          <a:xfrm>
            <a:off x="0" y="0"/>
            <a:ext cx="9144000" cy="170080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ukleáris erőmű tervek a világban</a:t>
            </a:r>
            <a:br>
              <a:rPr kumimoji="0" lang="hu-HU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hu-HU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Új atomerőmű blokkok építés alatt, 2015</a:t>
            </a:r>
            <a:endParaRPr kumimoji="0" lang="hu-HU" sz="20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kern="0" dirty="0" smtClean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Összesen 67 új blokk épül, 64 ezer MW kapacitással</a:t>
            </a:r>
            <a:endParaRPr kumimoji="0" lang="hu-HU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8B324-9ABF-4075-BA15-DB0FDBDD8749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7" name="Kép 6" descr="Paul Dorfman graphic 3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700808"/>
            <a:ext cx="9144000" cy="515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11560" y="0"/>
            <a:ext cx="7772400" cy="908720"/>
          </a:xfrm>
        </p:spPr>
        <p:txBody>
          <a:bodyPr/>
          <a:lstStyle/>
          <a:p>
            <a:pPr lvl="0"/>
            <a:r>
              <a:rPr lang="hu-HU" dirty="0" smtClean="0"/>
              <a:t>Vélemények és javaslatok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980728"/>
            <a:ext cx="9144000" cy="587727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hu-HU" sz="2600" dirty="0" err="1" smtClean="0">
                <a:solidFill>
                  <a:srgbClr val="FF0000"/>
                </a:solidFill>
              </a:rPr>
              <a:t>Hosszútávú</a:t>
            </a:r>
            <a:r>
              <a:rPr lang="hu-HU" sz="2600" dirty="0" smtClean="0">
                <a:solidFill>
                  <a:srgbClr val="FF0000"/>
                </a:solidFill>
              </a:rPr>
              <a:t> kapacitásfejlesztés</a:t>
            </a:r>
            <a:r>
              <a:rPr lang="hu-HU" sz="2600" dirty="0" smtClean="0"/>
              <a:t>: helytelen a „</a:t>
            </a:r>
            <a:r>
              <a:rPr lang="hu-HU" sz="2600" dirty="0" smtClean="0">
                <a:solidFill>
                  <a:srgbClr val="FF0000"/>
                </a:solidFill>
              </a:rPr>
              <a:t>vagy atomenergia vagy megújuló energiaforrások</a:t>
            </a:r>
            <a:r>
              <a:rPr lang="hu-HU" sz="2600" dirty="0" smtClean="0"/>
              <a:t>” megközelítés. M</a:t>
            </a:r>
            <a:r>
              <a:rPr lang="hu-HU" sz="2600" dirty="0" smtClean="0">
                <a:solidFill>
                  <a:srgbClr val="FF0000"/>
                </a:solidFill>
              </a:rPr>
              <a:t>indkét fejlesztési lehetőséggel élni kell</a:t>
            </a:r>
            <a:r>
              <a:rPr lang="hu-HU" sz="2600" dirty="0" smtClean="0"/>
              <a:t>. </a:t>
            </a:r>
            <a:r>
              <a:rPr lang="hu-HU" sz="26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ntos az energiahatékonyság!</a:t>
            </a:r>
          </a:p>
          <a:p>
            <a:pPr>
              <a:spcBef>
                <a:spcPts val="0"/>
              </a:spcBef>
            </a:pPr>
            <a:r>
              <a:rPr lang="hu-HU" sz="2600" dirty="0" smtClean="0">
                <a:solidFill>
                  <a:srgbClr val="FF0000"/>
                </a:solidFill>
              </a:rPr>
              <a:t>Meg kell őrizni </a:t>
            </a:r>
            <a:r>
              <a:rPr lang="hu-HU" sz="2600" dirty="0" smtClean="0"/>
              <a:t>a </a:t>
            </a:r>
            <a:r>
              <a:rPr lang="hu-HU" sz="2600" dirty="0" smtClean="0">
                <a:solidFill>
                  <a:srgbClr val="FF0000"/>
                </a:solidFill>
              </a:rPr>
              <a:t>korszerű gázos és kapcsolt erőműveket</a:t>
            </a:r>
          </a:p>
          <a:p>
            <a:pPr>
              <a:spcBef>
                <a:spcPts val="0"/>
              </a:spcBef>
            </a:pPr>
            <a:r>
              <a:rPr lang="hu-HU" sz="2600" dirty="0" smtClean="0"/>
              <a:t>A </a:t>
            </a:r>
            <a:r>
              <a:rPr lang="hu-HU" sz="2600" dirty="0" smtClean="0">
                <a:solidFill>
                  <a:srgbClr val="FF0000"/>
                </a:solidFill>
              </a:rPr>
              <a:t>tervezett új 400 kV-os távvezeték összekötés megteremti az új paksi blokkok rendszerbe illesztésének lehetőségeit</a:t>
            </a:r>
            <a:r>
              <a:rPr lang="hu-HU" sz="2600" dirty="0" smtClean="0"/>
              <a:t>, ezzel megoldódik a Paks2-ben termelt energia biztonságos kiszállítása.</a:t>
            </a:r>
          </a:p>
          <a:p>
            <a:pPr>
              <a:spcBef>
                <a:spcPts val="0"/>
              </a:spcBef>
            </a:pPr>
            <a:r>
              <a:rPr lang="hu-HU" sz="2600" dirty="0" smtClean="0"/>
              <a:t>A </a:t>
            </a:r>
            <a:r>
              <a:rPr lang="hu-HU" sz="2600" dirty="0" smtClean="0">
                <a:solidFill>
                  <a:srgbClr val="FF0000"/>
                </a:solidFill>
              </a:rPr>
              <a:t>2 új blokk üzembekerülésével </a:t>
            </a:r>
            <a:r>
              <a:rPr lang="hu-HU" sz="2600" dirty="0" smtClean="0"/>
              <a:t>továbbra is </a:t>
            </a:r>
            <a:r>
              <a:rPr lang="hu-HU" sz="2600" dirty="0" smtClean="0">
                <a:solidFill>
                  <a:srgbClr val="FF0000"/>
                </a:solidFill>
              </a:rPr>
              <a:t>komoly problémát jelent a szükséges mennyiségű, rugalmasan igénybe vehető szabályozó energia biztosítása</a:t>
            </a:r>
            <a:r>
              <a:rPr lang="hu-HU" sz="2600" dirty="0" smtClean="0"/>
              <a:t>. Szükséges</a:t>
            </a:r>
            <a:r>
              <a:rPr lang="hu-HU" sz="2600" dirty="0" smtClean="0">
                <a:solidFill>
                  <a:srgbClr val="FF0000"/>
                </a:solidFill>
              </a:rPr>
              <a:t> hazai szivattyús tározós erőmű építésének vizsgálata</a:t>
            </a:r>
            <a:r>
              <a:rPr lang="hu-HU" sz="2600" dirty="0" smtClean="0"/>
              <a:t>.</a:t>
            </a:r>
          </a:p>
          <a:p>
            <a:pPr>
              <a:spcBef>
                <a:spcPts val="0"/>
              </a:spcBef>
            </a:pPr>
            <a:r>
              <a:rPr lang="hu-HU" sz="2600" dirty="0" smtClean="0"/>
              <a:t>A </a:t>
            </a:r>
            <a:r>
              <a:rPr lang="hu-HU" sz="2600" dirty="0" smtClean="0">
                <a:solidFill>
                  <a:srgbClr val="FF0000"/>
                </a:solidFill>
              </a:rPr>
              <a:t>lignitvagyon kihasználása és a Mátrai Erőmű fenntartása </a:t>
            </a:r>
            <a:r>
              <a:rPr lang="hu-HU" sz="2600" dirty="0" smtClean="0"/>
              <a:t>céljából szükséges </a:t>
            </a:r>
            <a:r>
              <a:rPr lang="hu-HU" sz="2600" dirty="0" smtClean="0">
                <a:solidFill>
                  <a:srgbClr val="FF0000"/>
                </a:solidFill>
              </a:rPr>
              <a:t>egy új, korszerű, kb. 500 MW-os, jó hatásfokú lignites erőmű építése</a:t>
            </a:r>
            <a:r>
              <a:rPr lang="hu-HU" sz="2600" dirty="0" smtClean="0"/>
              <a:t>.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35C73D-A53E-4597-A98C-B715794DC14D}" type="slidenum">
              <a:rPr lang="hu-HU" smtClean="0"/>
              <a:pPr>
                <a:defRPr/>
              </a:pPr>
              <a:t>42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1556792"/>
            <a:ext cx="9144000" cy="1143000"/>
          </a:xfrm>
        </p:spPr>
        <p:txBody>
          <a:bodyPr/>
          <a:lstStyle/>
          <a:p>
            <a:r>
              <a:rPr lang="hu-HU" dirty="0" smtClean="0"/>
              <a:t>Köszönöm megtisztelő figyelmüket</a:t>
            </a: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43</a:t>
            </a:fld>
            <a:endParaRPr lang="hu-HU"/>
          </a:p>
        </p:txBody>
      </p:sp>
      <p:sp>
        <p:nvSpPr>
          <p:cNvPr id="4" name="Szövegdoboz 3"/>
          <p:cNvSpPr txBox="1"/>
          <p:nvPr/>
        </p:nvSpPr>
        <p:spPr>
          <a:xfrm>
            <a:off x="3779912" y="3645024"/>
            <a:ext cx="171072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hu-HU" sz="4000" kern="0" dirty="0" smtClean="0">
                <a:solidFill>
                  <a:srgbClr val="FF0000"/>
                </a:solidFill>
                <a:latin typeface="Blackadder ITC" pitchFamily="82" charset="0"/>
              </a:rPr>
              <a:t>The End</a:t>
            </a:r>
          </a:p>
          <a:p>
            <a:endParaRPr lang="hu-HU" sz="4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340768"/>
          </a:xfrm>
        </p:spPr>
        <p:txBody>
          <a:bodyPr/>
          <a:lstStyle/>
          <a:p>
            <a:r>
              <a:rPr lang="hu-HU" sz="3200" dirty="0" smtClean="0"/>
              <a:t>Magyarország energiatermelése, 1972-2012, </a:t>
            </a:r>
            <a:r>
              <a:rPr lang="hu-HU" sz="3200" dirty="0" err="1" smtClean="0"/>
              <a:t>Mtoe</a:t>
            </a:r>
            <a:endParaRPr lang="hu-HU" sz="32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5</a:t>
            </a:fld>
            <a:endParaRPr lang="hu-HU"/>
          </a:p>
        </p:txBody>
      </p:sp>
      <p:sp>
        <p:nvSpPr>
          <p:cNvPr id="4" name="Dia számának helye 2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D220B1-E504-472B-AF1A-9391EBB7708B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hu-HU" sz="1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12777"/>
            <a:ext cx="9144000" cy="5445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zövegdoboz 5"/>
          <p:cNvSpPr txBox="1"/>
          <p:nvPr/>
        </p:nvSpPr>
        <p:spPr>
          <a:xfrm>
            <a:off x="1979712" y="5517232"/>
            <a:ext cx="7825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FFFF"/>
                </a:solidFill>
              </a:rPr>
              <a:t>Szén</a:t>
            </a:r>
            <a:endParaRPr lang="hu-HU" dirty="0">
              <a:solidFill>
                <a:srgbClr val="FFFFFF"/>
              </a:solidFill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2123728" y="4365104"/>
            <a:ext cx="7136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FFFF"/>
                </a:solidFill>
              </a:rPr>
              <a:t>Olaj</a:t>
            </a:r>
            <a:endParaRPr lang="hu-HU" dirty="0">
              <a:solidFill>
                <a:srgbClr val="FFFFFF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2267744" y="3501008"/>
            <a:ext cx="11753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002060"/>
                </a:solidFill>
              </a:rPr>
              <a:t>Földgáz</a:t>
            </a:r>
            <a:endParaRPr lang="hu-HU" dirty="0">
              <a:solidFill>
                <a:srgbClr val="002060"/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4932040" y="3645024"/>
            <a:ext cx="8851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002060"/>
                </a:solidFill>
              </a:rPr>
              <a:t>Atom</a:t>
            </a:r>
            <a:endParaRPr lang="hu-HU" dirty="0">
              <a:solidFill>
                <a:srgbClr val="002060"/>
              </a:solidFill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6300192" y="2780928"/>
            <a:ext cx="19271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002060"/>
                </a:solidFill>
              </a:rPr>
              <a:t>Geo, szél, nap</a:t>
            </a:r>
          </a:p>
          <a:p>
            <a:pPr algn="ctr"/>
            <a:r>
              <a:rPr lang="hu-HU" dirty="0" err="1" smtClean="0">
                <a:solidFill>
                  <a:srgbClr val="002060"/>
                </a:solidFill>
              </a:rPr>
              <a:t>Bio</a:t>
            </a:r>
            <a:r>
              <a:rPr lang="hu-HU" dirty="0" smtClean="0">
                <a:solidFill>
                  <a:srgbClr val="002060"/>
                </a:solidFill>
              </a:rPr>
              <a:t>, szemét</a:t>
            </a:r>
            <a:endParaRPr lang="hu-HU" dirty="0">
              <a:solidFill>
                <a:srgbClr val="002060"/>
              </a:solidFill>
            </a:endParaRPr>
          </a:p>
        </p:txBody>
      </p:sp>
      <p:cxnSp>
        <p:nvCxnSpPr>
          <p:cNvPr id="12" name="Egyenes összekötő nyíllal 11"/>
          <p:cNvCxnSpPr/>
          <p:nvPr/>
        </p:nvCxnSpPr>
        <p:spPr>
          <a:xfrm>
            <a:off x="7452320" y="3501008"/>
            <a:ext cx="144016" cy="57606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3" name="Egyenes összekötő nyíllal 12"/>
          <p:cNvCxnSpPr/>
          <p:nvPr/>
        </p:nvCxnSpPr>
        <p:spPr>
          <a:xfrm>
            <a:off x="8172400" y="3068960"/>
            <a:ext cx="288032" cy="72008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760"/>
          </a:xfrm>
        </p:spPr>
        <p:txBody>
          <a:bodyPr/>
          <a:lstStyle/>
          <a:p>
            <a:r>
              <a:rPr lang="hu-HU" sz="3200" dirty="0" smtClean="0"/>
              <a:t>Magyarország </a:t>
            </a:r>
            <a:r>
              <a:rPr lang="hu-HU" sz="3200" dirty="0" err="1" smtClean="0"/>
              <a:t>villamosenergia</a:t>
            </a:r>
            <a:r>
              <a:rPr lang="hu-HU" sz="3200" dirty="0" smtClean="0"/>
              <a:t> termelése</a:t>
            </a:r>
            <a:br>
              <a:rPr lang="hu-HU" sz="3200" dirty="0" smtClean="0"/>
            </a:br>
            <a:r>
              <a:rPr lang="hu-HU" sz="3200" dirty="0" smtClean="0"/>
              <a:t> 1972-2012,  </a:t>
            </a:r>
            <a:r>
              <a:rPr lang="hu-HU" sz="3200" dirty="0" err="1" smtClean="0"/>
              <a:t>GWh</a:t>
            </a:r>
            <a:endParaRPr lang="hu-HU" sz="32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6</a:t>
            </a:fld>
            <a:endParaRPr lang="hu-HU"/>
          </a:p>
        </p:txBody>
      </p:sp>
      <p:sp>
        <p:nvSpPr>
          <p:cNvPr id="5" name="Dia számának helye 2"/>
          <p:cNvSpPr txBox="1">
            <a:spLocks/>
          </p:cNvSpPr>
          <p:nvPr/>
        </p:nvSpPr>
        <p:spPr bwMode="auto">
          <a:xfrm>
            <a:off x="6446139" y="6281989"/>
            <a:ext cx="2119119" cy="515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1356DD-0195-4433-ACC4-639660FF561E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hu-HU" sz="1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340769"/>
            <a:ext cx="9143999" cy="5517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zövegdoboz 6"/>
          <p:cNvSpPr txBox="1"/>
          <p:nvPr/>
        </p:nvSpPr>
        <p:spPr>
          <a:xfrm>
            <a:off x="1979712" y="5517232"/>
            <a:ext cx="7825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FFFF"/>
                </a:solidFill>
              </a:rPr>
              <a:t>Szén</a:t>
            </a:r>
            <a:endParaRPr lang="hu-HU" dirty="0">
              <a:solidFill>
                <a:srgbClr val="FFFFFF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1691680" y="4581128"/>
            <a:ext cx="7136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FFFF"/>
                </a:solidFill>
              </a:rPr>
              <a:t>Olaj</a:t>
            </a:r>
            <a:endParaRPr lang="hu-HU" dirty="0">
              <a:solidFill>
                <a:srgbClr val="FFFFFF"/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2123728" y="4149080"/>
            <a:ext cx="11753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002060"/>
                </a:solidFill>
              </a:rPr>
              <a:t>Földgáz</a:t>
            </a:r>
            <a:endParaRPr lang="hu-HU" dirty="0">
              <a:solidFill>
                <a:srgbClr val="002060"/>
              </a:solidFill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4932040" y="3645024"/>
            <a:ext cx="8851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002060"/>
                </a:solidFill>
              </a:rPr>
              <a:t>Atom</a:t>
            </a:r>
            <a:endParaRPr lang="hu-HU" dirty="0">
              <a:solidFill>
                <a:srgbClr val="002060"/>
              </a:solidFill>
            </a:endParaRPr>
          </a:p>
        </p:txBody>
      </p:sp>
      <p:sp>
        <p:nvSpPr>
          <p:cNvPr id="11" name="Szövegdoboz 10"/>
          <p:cNvSpPr txBox="1"/>
          <p:nvPr/>
        </p:nvSpPr>
        <p:spPr>
          <a:xfrm>
            <a:off x="6084168" y="1844824"/>
            <a:ext cx="19271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002060"/>
                </a:solidFill>
              </a:rPr>
              <a:t>Geo, szél, nap</a:t>
            </a:r>
          </a:p>
          <a:p>
            <a:pPr algn="ctr"/>
            <a:r>
              <a:rPr lang="hu-HU" dirty="0" err="1" smtClean="0">
                <a:solidFill>
                  <a:srgbClr val="002060"/>
                </a:solidFill>
              </a:rPr>
              <a:t>Bio</a:t>
            </a:r>
            <a:r>
              <a:rPr lang="hu-HU" dirty="0" smtClean="0">
                <a:solidFill>
                  <a:srgbClr val="002060"/>
                </a:solidFill>
              </a:rPr>
              <a:t>, szemét</a:t>
            </a:r>
            <a:endParaRPr lang="hu-HU" dirty="0">
              <a:solidFill>
                <a:srgbClr val="002060"/>
              </a:solidFill>
            </a:endParaRPr>
          </a:p>
        </p:txBody>
      </p:sp>
      <p:cxnSp>
        <p:nvCxnSpPr>
          <p:cNvPr id="12" name="Egyenes összekötő nyíllal 11"/>
          <p:cNvCxnSpPr/>
          <p:nvPr/>
        </p:nvCxnSpPr>
        <p:spPr>
          <a:xfrm>
            <a:off x="8028384" y="2132856"/>
            <a:ext cx="648072" cy="648072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Szövegdoboz 13"/>
          <p:cNvSpPr txBox="1"/>
          <p:nvPr/>
        </p:nvSpPr>
        <p:spPr>
          <a:xfrm>
            <a:off x="899592" y="2060848"/>
            <a:ext cx="426110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solidFill>
                  <a:srgbClr val="FF0000"/>
                </a:solidFill>
              </a:rPr>
              <a:t>A hazai áramtermelés 6-7 éve</a:t>
            </a:r>
          </a:p>
          <a:p>
            <a:r>
              <a:rPr lang="hu-HU" b="1" dirty="0" smtClean="0">
                <a:solidFill>
                  <a:srgbClr val="FF0000"/>
                </a:solidFill>
              </a:rPr>
              <a:t>csökken, az import nő. </a:t>
            </a:r>
          </a:p>
          <a:p>
            <a:r>
              <a:rPr lang="hu-HU" b="1" dirty="0" smtClean="0">
                <a:solidFill>
                  <a:srgbClr val="FF0000"/>
                </a:solidFill>
              </a:rPr>
              <a:t>2015-ben az import részaránya</a:t>
            </a:r>
          </a:p>
          <a:p>
            <a:r>
              <a:rPr lang="hu-HU" b="1" dirty="0" smtClean="0">
                <a:solidFill>
                  <a:srgbClr val="FF0000"/>
                </a:solidFill>
              </a:rPr>
              <a:t>már 35-40%!</a:t>
            </a:r>
            <a:endParaRPr lang="hu-HU" b="1" dirty="0">
              <a:solidFill>
                <a:srgbClr val="FF0000"/>
              </a:solidFill>
            </a:endParaRPr>
          </a:p>
        </p:txBody>
      </p:sp>
      <p:cxnSp>
        <p:nvCxnSpPr>
          <p:cNvPr id="15" name="Egyenes összekötő nyíllal 14"/>
          <p:cNvCxnSpPr/>
          <p:nvPr/>
        </p:nvCxnSpPr>
        <p:spPr>
          <a:xfrm>
            <a:off x="7236296" y="2564904"/>
            <a:ext cx="288032" cy="43204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340768"/>
          </a:xfrm>
        </p:spPr>
        <p:txBody>
          <a:bodyPr/>
          <a:lstStyle/>
          <a:p>
            <a:r>
              <a:rPr lang="hu-HU" sz="3600" dirty="0" smtClean="0"/>
              <a:t>A magyar áram-mix alakulása, </a:t>
            </a:r>
            <a:r>
              <a:rPr lang="hu-HU" sz="3600" dirty="0" err="1" smtClean="0"/>
              <a:t>GWh</a:t>
            </a:r>
            <a:r>
              <a:rPr lang="hu-HU" sz="3200" dirty="0" smtClean="0"/>
              <a:t/>
            </a:r>
            <a:br>
              <a:rPr lang="hu-HU" sz="3200" dirty="0" smtClean="0"/>
            </a:br>
            <a:r>
              <a:rPr lang="hu-HU" sz="2800" dirty="0" smtClean="0"/>
              <a:t>2013, 2014, 2015 január-február</a:t>
            </a:r>
            <a:endParaRPr lang="hu-HU" sz="28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7</a:t>
            </a:fld>
            <a:endParaRPr lang="hu-H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12776"/>
            <a:ext cx="9144000" cy="5445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412776"/>
          </a:xfrm>
        </p:spPr>
        <p:txBody>
          <a:bodyPr/>
          <a:lstStyle/>
          <a:p>
            <a:r>
              <a:rPr lang="hu-HU" sz="3600" dirty="0" smtClean="0"/>
              <a:t>A magyar áramfogyasztás alakulása, </a:t>
            </a:r>
            <a:r>
              <a:rPr lang="hu-HU" sz="3600" dirty="0" err="1" smtClean="0"/>
              <a:t>GWh</a:t>
            </a:r>
            <a:r>
              <a:rPr lang="hu-HU" sz="4800" dirty="0" smtClean="0"/>
              <a:t/>
            </a:r>
            <a:br>
              <a:rPr lang="hu-HU" sz="4800" dirty="0" smtClean="0"/>
            </a:br>
            <a:r>
              <a:rPr lang="hu-HU" sz="3200" dirty="0" smtClean="0"/>
              <a:t>2013, 2014, 2015</a:t>
            </a:r>
            <a:endParaRPr lang="hu-HU" sz="32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8B324-9ABF-4075-BA15-DB0FDBDD8749}" type="slidenum">
              <a:rPr lang="hu-HU" smtClean="0"/>
              <a:pPr>
                <a:defRPr/>
              </a:pPr>
              <a:t>8</a:t>
            </a:fld>
            <a:endParaRPr lang="hu-HU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84784"/>
            <a:ext cx="9144000" cy="5373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zövegdoboz 4"/>
          <p:cNvSpPr txBox="1"/>
          <p:nvPr/>
        </p:nvSpPr>
        <p:spPr>
          <a:xfrm>
            <a:off x="1832864" y="2636912"/>
            <a:ext cx="6786473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0000"/>
                </a:solidFill>
              </a:rPr>
              <a:t>A fogyasztási minimumok áprilisban és augusztusban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</a:rPr>
              <a:t>jelentkeztek, a csúcs januárban és decemberben.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</a:rPr>
              <a:t>2014-ben az importszaldó 12%-kal, </a:t>
            </a:r>
          </a:p>
          <a:p>
            <a:pPr algn="ctr"/>
            <a:r>
              <a:rPr lang="hu-HU" dirty="0" smtClean="0">
                <a:solidFill>
                  <a:srgbClr val="FF0000"/>
                </a:solidFill>
              </a:rPr>
              <a:t>a fogyasztás 1%-kal nőtt. </a:t>
            </a:r>
          </a:p>
          <a:p>
            <a:pPr algn="ctr"/>
            <a:r>
              <a:rPr lang="hu-HU" b="1" dirty="0" smtClean="0">
                <a:solidFill>
                  <a:srgbClr val="FF0000"/>
                </a:solidFill>
              </a:rPr>
              <a:t>2014 augusztusa óta nő a hazai </a:t>
            </a:r>
          </a:p>
          <a:p>
            <a:pPr algn="ctr"/>
            <a:r>
              <a:rPr lang="hu-HU" b="1" dirty="0" err="1" smtClean="0">
                <a:solidFill>
                  <a:srgbClr val="FF0000"/>
                </a:solidFill>
              </a:rPr>
              <a:t>villamosenergia</a:t>
            </a:r>
            <a:r>
              <a:rPr lang="hu-HU" b="1" dirty="0" smtClean="0">
                <a:solidFill>
                  <a:srgbClr val="FF0000"/>
                </a:solidFill>
              </a:rPr>
              <a:t> fogyasztás</a:t>
            </a:r>
            <a:r>
              <a:rPr lang="hu-HU" dirty="0" smtClean="0">
                <a:solidFill>
                  <a:srgbClr val="FF0000"/>
                </a:solidFill>
              </a:rPr>
              <a:t>.</a:t>
            </a:r>
            <a:endParaRPr lang="hu-HU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D47D8-5B4A-4B6B-8E60-D0414DE79E36}" type="slidenum">
              <a:rPr lang="hu-HU" smtClean="0"/>
              <a:pPr>
                <a:defRPr/>
              </a:pPr>
              <a:t>9</a:t>
            </a:fld>
            <a:endParaRPr lang="hu-HU"/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0" y="0"/>
            <a:ext cx="9144000" cy="6669360"/>
          </a:xfrm>
          <a:prstGeom prst="rect">
            <a:avLst/>
          </a:prstGeom>
        </p:spPr>
        <p:txBody>
          <a:bodyPr/>
          <a:lstStyle/>
          <a:p>
            <a:pPr marL="342900" lvl="0" indent="-342900" algn="ctr" eaLnBrk="0" hangingPunct="0">
              <a:spcBef>
                <a:spcPts val="0"/>
              </a:spcBef>
            </a:pPr>
            <a:r>
              <a:rPr lang="hu-HU" sz="3200" kern="0" dirty="0" smtClean="0">
                <a:solidFill>
                  <a:schemeClr val="tx2"/>
                </a:solidFill>
              </a:rPr>
              <a:t>A magyarországi villamosenergia-ellátás </a:t>
            </a:r>
          </a:p>
          <a:p>
            <a:pPr marL="342900" lvl="0" indent="-342900" algn="ctr" eaLnBrk="0" hangingPunct="0">
              <a:spcBef>
                <a:spcPts val="0"/>
              </a:spcBef>
            </a:pPr>
            <a:r>
              <a:rPr lang="hu-HU" sz="3200" kern="0" dirty="0" smtClean="0">
                <a:solidFill>
                  <a:schemeClr val="tx2"/>
                </a:solidFill>
              </a:rPr>
              <a:t>biztonságának kérdései</a:t>
            </a:r>
            <a:endParaRPr lang="hu-HU" sz="3200" kern="0" dirty="0" smtClean="0">
              <a:latin typeface="+mn-lt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magyar erőműpark jellemzője,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ogy kapacitásai jelentős arányban elavultak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és a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öldgáztüzelésű erőművek részaránya meghaladja az európai átlagot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z egységesülő régiós és európai árampiacon a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zai erőművek nagy része (lényegében Paks és Mátra kivételével) nem versenyképes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Az utóbbi években a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zai erőműpark kihasználása egyre csökkenő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öbb erőművet leállítottak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és még a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gújabb, jó hatásfokú egységek (Gönyű, ill. Dunamenti G3) is alig működnek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gyes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apcsolt termelést biztosító egységek már hivatalosan leálltak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zai fogyasztókat egyre nagyobb mértékben import villamos energiával látják el, az importszaldó részaránya nő</a:t>
            </a:r>
            <a:r>
              <a:rPr kumimoji="0" lang="hu-HU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Dia számának helye 3"/>
          <p:cNvSpPr txBox="1">
            <a:spLocks/>
          </p:cNvSpPr>
          <p:nvPr/>
        </p:nvSpPr>
        <p:spPr bwMode="auto">
          <a:xfrm>
            <a:off x="6705600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Q9XIfL_U.NjuQ1w2JRyQ"/>
</p:tagLst>
</file>

<file path=ppt/theme/theme1.xml><?xml version="1.0" encoding="utf-8"?>
<a:theme xmlns:a="http://schemas.openxmlformats.org/drawingml/2006/main" name="Alapértelmezett terv">
  <a:themeElements>
    <a:clrScheme name="">
      <a:dk1>
        <a:srgbClr val="000000"/>
      </a:dk1>
      <a:lt1>
        <a:srgbClr val="CCFFFF"/>
      </a:lt1>
      <a:dk2>
        <a:srgbClr val="0033CC"/>
      </a:dk2>
      <a:lt2>
        <a:srgbClr val="808080"/>
      </a:lt2>
      <a:accent1>
        <a:srgbClr val="00CC99"/>
      </a:accent1>
      <a:accent2>
        <a:srgbClr val="3333CC"/>
      </a:accent2>
      <a:accent3>
        <a:srgbClr val="E2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Alapértelmezett terv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é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59</TotalTime>
  <Words>1862</Words>
  <Application>Microsoft Office PowerPoint</Application>
  <PresentationFormat>Diavetítés a képernyőre (4:3 oldalarány)</PresentationFormat>
  <Paragraphs>367</Paragraphs>
  <Slides>43</Slides>
  <Notes>0</Notes>
  <HiddenSlides>0</HiddenSlides>
  <MMClips>0</MMClips>
  <ScaleCrop>false</ScaleCrop>
  <HeadingPairs>
    <vt:vector size="4" baseType="variant">
      <vt:variant>
        <vt:lpstr>Téma</vt:lpstr>
      </vt:variant>
      <vt:variant>
        <vt:i4>1</vt:i4>
      </vt:variant>
      <vt:variant>
        <vt:lpstr>Diacímek</vt:lpstr>
      </vt:variant>
      <vt:variant>
        <vt:i4>43</vt:i4>
      </vt:variant>
    </vt:vector>
  </HeadingPairs>
  <TitlesOfParts>
    <vt:vector size="44" baseType="lpstr">
      <vt:lpstr>Alapértelmezett terv</vt:lpstr>
      <vt:lpstr>Debreceni Egyetem XXI. ÉPÜLETGÉPÉSZETI SZAKMAI NAPOK Budapest, 2015. október 15. </vt:lpstr>
      <vt:lpstr>A hazai villamosenergia  ágazat helyzete </vt:lpstr>
      <vt:lpstr>Magyarország energiaellátása, 1972-2012, Mtoe</vt:lpstr>
      <vt:lpstr>A magyar energia-mix, 2012 A teljes fogyasztás 23,5 Mtoe</vt:lpstr>
      <vt:lpstr>Magyarország energiatermelése, 1972-2012, Mtoe</vt:lpstr>
      <vt:lpstr>Magyarország villamosenergia termelése  1972-2012,  GWh</vt:lpstr>
      <vt:lpstr>A magyar áram-mix alakulása, GWh 2013, 2014, 2015 január-február</vt:lpstr>
      <vt:lpstr>A magyar áramfogyasztás alakulása, GWh 2013, 2014, 2015</vt:lpstr>
      <vt:lpstr>9. dia</vt:lpstr>
      <vt:lpstr>A hazai villamosenergia  rendszer jövője</vt:lpstr>
      <vt:lpstr>Három fontos döntés, melyek a magyar energetikai jövőt meghatározzák</vt:lpstr>
      <vt:lpstr>12. dia</vt:lpstr>
      <vt:lpstr>13. dia</vt:lpstr>
      <vt:lpstr>14. dia</vt:lpstr>
      <vt:lpstr>Globális CO2 emissziók %-ban  A legnagyobb kibocsátók</vt:lpstr>
      <vt:lpstr>16. dia</vt:lpstr>
      <vt:lpstr>17. dia</vt:lpstr>
      <vt:lpstr>18. dia</vt:lpstr>
      <vt:lpstr>19. dia</vt:lpstr>
      <vt:lpstr>20. dia</vt:lpstr>
      <vt:lpstr>21. dia</vt:lpstr>
      <vt:lpstr>22. dia</vt:lpstr>
      <vt:lpstr>23. dia</vt:lpstr>
      <vt:lpstr>24. dia</vt:lpstr>
      <vt:lpstr>Gondolatok az új német  energiapolitikai fordulatról, az Energiewendéről</vt:lpstr>
      <vt:lpstr>Mi az Energiewende?</vt:lpstr>
      <vt:lpstr>Az Energiewende célkitűzései Az Energiewende célok az összfogyasztás 50%-os, az áramfogyasztás 25%-os, az épületenergetikai és közlekedési fogyasztás 80 illetve 40%-os csökkenésével számolnak.</vt:lpstr>
      <vt:lpstr>28. dia</vt:lpstr>
      <vt:lpstr>Az Energiewende eddigi negatív hatásai</vt:lpstr>
      <vt:lpstr>30. dia</vt:lpstr>
      <vt:lpstr>Német Áram-mix, 2014, %  A szél csupán 9,1 (offshore 0,2%),  a szolár PV 5,6%-ot termel. Dominál a fosszilis! Milyenek a német megújuló energia adottságok?</vt:lpstr>
      <vt:lpstr>32. dia</vt:lpstr>
      <vt:lpstr>33. dia</vt:lpstr>
      <vt:lpstr>Régiónk helyzete  Cseh, lengyel, szlovák áram-mix  Az import kérdése: honnan tudunk importálni? (cseh, lengyel, ukrán) Hová tudunk exportálni? Hol épül még atomerőmű</vt:lpstr>
      <vt:lpstr>35. dia</vt:lpstr>
      <vt:lpstr>36. dia</vt:lpstr>
      <vt:lpstr>A cseh és lengyel energia-mix 2013, 2014 és 2015, január, GWh</vt:lpstr>
      <vt:lpstr>Szomszédaink export lehetőségei</vt:lpstr>
      <vt:lpstr>39. dia</vt:lpstr>
      <vt:lpstr>Nukleáris tervek a régióban Szomszédaink mindegyike tervez / épít atomerőművet</vt:lpstr>
      <vt:lpstr>41. dia</vt:lpstr>
      <vt:lpstr>Vélemények és javaslatok</vt:lpstr>
      <vt:lpstr>Köszönöm megtisztelő figyelmüket</vt:lpstr>
    </vt:vector>
  </TitlesOfParts>
  <Company>EK Kht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LENEN 2015 Budapest, 2015. március 10.</dc:title>
  <dc:creator>Dr. Molnár László</dc:creator>
  <cp:lastModifiedBy>ML</cp:lastModifiedBy>
  <cp:revision>331</cp:revision>
  <dcterms:created xsi:type="dcterms:W3CDTF">2015-01-26T09:34:31Z</dcterms:created>
  <dcterms:modified xsi:type="dcterms:W3CDTF">2015-10-14T08:40:32Z</dcterms:modified>
</cp:coreProperties>
</file>